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7"/>
  </p:notesMasterIdLst>
  <p:sldIdLst>
    <p:sldId id="256" r:id="rId3"/>
    <p:sldId id="273" r:id="rId4"/>
    <p:sldId id="259" r:id="rId5"/>
    <p:sldId id="265" r:id="rId6"/>
    <p:sldId id="257" r:id="rId7"/>
    <p:sldId id="293" r:id="rId8"/>
    <p:sldId id="288" r:id="rId9"/>
    <p:sldId id="289" r:id="rId10"/>
    <p:sldId id="258" r:id="rId11"/>
    <p:sldId id="291" r:id="rId12"/>
    <p:sldId id="290" r:id="rId13"/>
    <p:sldId id="292" r:id="rId14"/>
    <p:sldId id="260" r:id="rId15"/>
    <p:sldId id="266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A0B"/>
    <a:srgbClr val="1DB954"/>
    <a:srgbClr val="191414"/>
    <a:srgbClr val="0C0D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705D2C-F7EB-6644-A447-CE069A303EEA}" v="116" dt="2023-11-27T18:43:41.1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38" autoAdjust="0"/>
    <p:restoredTop sz="89016" autoAdjust="0"/>
  </p:normalViewPr>
  <p:slideViewPr>
    <p:cSldViewPr snapToGrid="0">
      <p:cViewPr>
        <p:scale>
          <a:sx n="72" d="100"/>
          <a:sy n="72" d="100"/>
        </p:scale>
        <p:origin x="216" y="6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spreet Kalsi" userId="6f701f51b128fcbf" providerId="LiveId" clId="{EE705D2C-F7EB-6644-A447-CE069A303EEA}"/>
    <pc:docChg chg="undo custSel addSld delSld modSld sldOrd">
      <pc:chgData name="Jaspreet Kalsi" userId="6f701f51b128fcbf" providerId="LiveId" clId="{EE705D2C-F7EB-6644-A447-CE069A303EEA}" dt="2023-11-27T18:44:05.888" v="6113" actId="113"/>
      <pc:docMkLst>
        <pc:docMk/>
      </pc:docMkLst>
      <pc:sldChg chg="addSp delSp modSp mod">
        <pc:chgData name="Jaspreet Kalsi" userId="6f701f51b128fcbf" providerId="LiveId" clId="{EE705D2C-F7EB-6644-A447-CE069A303EEA}" dt="2023-11-27T18:22:06.220" v="5725"/>
        <pc:sldMkLst>
          <pc:docMk/>
          <pc:sldMk cId="1899087313" sldId="257"/>
        </pc:sldMkLst>
        <pc:spChg chg="del">
          <ac:chgData name="Jaspreet Kalsi" userId="6f701f51b128fcbf" providerId="LiveId" clId="{EE705D2C-F7EB-6644-A447-CE069A303EEA}" dt="2023-11-27T18:22:03.471" v="5724" actId="478"/>
          <ac:spMkLst>
            <pc:docMk/>
            <pc:sldMk cId="1899087313" sldId="257"/>
            <ac:spMk id="3" creationId="{EB49F864-FA2A-B398-5A4B-65617545E187}"/>
          </ac:spMkLst>
        </pc:spChg>
        <pc:spChg chg="mod">
          <ac:chgData name="Jaspreet Kalsi" userId="6f701f51b128fcbf" providerId="LiveId" clId="{EE705D2C-F7EB-6644-A447-CE069A303EEA}" dt="2023-11-27T14:49:37.466" v="1291" actId="20577"/>
          <ac:spMkLst>
            <pc:docMk/>
            <pc:sldMk cId="1899087313" sldId="257"/>
            <ac:spMk id="18" creationId="{355AC3A1-175C-0DC3-DBAF-F626A9F3780A}"/>
          </ac:spMkLst>
        </pc:spChg>
        <pc:spChg chg="add del mod">
          <ac:chgData name="Jaspreet Kalsi" userId="6f701f51b128fcbf" providerId="LiveId" clId="{EE705D2C-F7EB-6644-A447-CE069A303EEA}" dt="2023-11-27T18:22:03.471" v="5724" actId="478"/>
          <ac:spMkLst>
            <pc:docMk/>
            <pc:sldMk cId="1899087313" sldId="257"/>
            <ac:spMk id="21" creationId="{ED46B618-2CF9-7941-4EA2-0BAE302EE4DF}"/>
          </ac:spMkLst>
        </pc:spChg>
        <pc:spChg chg="del mod">
          <ac:chgData name="Jaspreet Kalsi" userId="6f701f51b128fcbf" providerId="LiveId" clId="{EE705D2C-F7EB-6644-A447-CE069A303EEA}" dt="2023-11-27T18:22:03.471" v="5724" actId="478"/>
          <ac:spMkLst>
            <pc:docMk/>
            <pc:sldMk cId="1899087313" sldId="257"/>
            <ac:spMk id="22" creationId="{29CCABAF-CABD-0DCA-146A-8DF8AA94EF98}"/>
          </ac:spMkLst>
        </pc:spChg>
        <pc:spChg chg="del mod">
          <ac:chgData name="Jaspreet Kalsi" userId="6f701f51b128fcbf" providerId="LiveId" clId="{EE705D2C-F7EB-6644-A447-CE069A303EEA}" dt="2023-11-27T18:22:03.471" v="5724" actId="478"/>
          <ac:spMkLst>
            <pc:docMk/>
            <pc:sldMk cId="1899087313" sldId="257"/>
            <ac:spMk id="23" creationId="{75360DE8-31EE-FAA3-E777-47004567BD15}"/>
          </ac:spMkLst>
        </pc:spChg>
        <pc:spChg chg="add del mod">
          <ac:chgData name="Jaspreet Kalsi" userId="6f701f51b128fcbf" providerId="LiveId" clId="{EE705D2C-F7EB-6644-A447-CE069A303EEA}" dt="2023-11-27T14:50:15.372" v="1299" actId="478"/>
          <ac:spMkLst>
            <pc:docMk/>
            <pc:sldMk cId="1899087313" sldId="257"/>
            <ac:spMk id="24" creationId="{8161B9A8-9035-6E20-4BD0-64B1070C51AC}"/>
          </ac:spMkLst>
        </pc:spChg>
        <pc:spChg chg="add del mod">
          <ac:chgData name="Jaspreet Kalsi" userId="6f701f51b128fcbf" providerId="LiveId" clId="{EE705D2C-F7EB-6644-A447-CE069A303EEA}" dt="2023-11-27T14:49:02.517" v="1251"/>
          <ac:spMkLst>
            <pc:docMk/>
            <pc:sldMk cId="1899087313" sldId="257"/>
            <ac:spMk id="26" creationId="{05E07E45-7E45-F254-4BB8-5F48932D2E7B}"/>
          </ac:spMkLst>
        </pc:spChg>
        <pc:spChg chg="del">
          <ac:chgData name="Jaspreet Kalsi" userId="6f701f51b128fcbf" providerId="LiveId" clId="{EE705D2C-F7EB-6644-A447-CE069A303EEA}" dt="2023-11-27T18:22:03.471" v="5724" actId="478"/>
          <ac:spMkLst>
            <pc:docMk/>
            <pc:sldMk cId="1899087313" sldId="257"/>
            <ac:spMk id="32" creationId="{645A61D0-A27C-4E86-3267-C3B0918F40E6}"/>
          </ac:spMkLst>
        </pc:spChg>
        <pc:spChg chg="mod">
          <ac:chgData name="Jaspreet Kalsi" userId="6f701f51b128fcbf" providerId="LiveId" clId="{EE705D2C-F7EB-6644-A447-CE069A303EEA}" dt="2023-11-27T14:50:45.100" v="1305" actId="14100"/>
          <ac:spMkLst>
            <pc:docMk/>
            <pc:sldMk cId="1899087313" sldId="257"/>
            <ac:spMk id="42" creationId="{2D323B2B-1A46-4DE2-23B4-AE05B947C523}"/>
          </ac:spMkLst>
        </pc:spChg>
        <pc:spChg chg="mod">
          <ac:chgData name="Jaspreet Kalsi" userId="6f701f51b128fcbf" providerId="LiveId" clId="{EE705D2C-F7EB-6644-A447-CE069A303EEA}" dt="2023-11-27T14:50:49.250" v="1306" actId="1076"/>
          <ac:spMkLst>
            <pc:docMk/>
            <pc:sldMk cId="1899087313" sldId="257"/>
            <ac:spMk id="44" creationId="{9B6C86C2-F620-98F4-A4E8-61A4CB9431C9}"/>
          </ac:spMkLst>
        </pc:spChg>
        <pc:spChg chg="del">
          <ac:chgData name="Jaspreet Kalsi" userId="6f701f51b128fcbf" providerId="LiveId" clId="{EE705D2C-F7EB-6644-A447-CE069A303EEA}" dt="2023-11-26T14:19:34.108" v="875" actId="478"/>
          <ac:spMkLst>
            <pc:docMk/>
            <pc:sldMk cId="1899087313" sldId="257"/>
            <ac:spMk id="60" creationId="{A8B32FA7-9DD5-84FD-B013-2AC801BA3D78}"/>
          </ac:spMkLst>
        </pc:spChg>
        <pc:spChg chg="del">
          <ac:chgData name="Jaspreet Kalsi" userId="6f701f51b128fcbf" providerId="LiveId" clId="{EE705D2C-F7EB-6644-A447-CE069A303EEA}" dt="2023-11-27T18:22:03.471" v="5724" actId="478"/>
          <ac:spMkLst>
            <pc:docMk/>
            <pc:sldMk cId="1899087313" sldId="257"/>
            <ac:spMk id="1032" creationId="{3AD0C471-6548-0BFD-CA07-294965E4E7C2}"/>
          </ac:spMkLst>
        </pc:spChg>
        <pc:spChg chg="del mod">
          <ac:chgData name="Jaspreet Kalsi" userId="6f701f51b128fcbf" providerId="LiveId" clId="{EE705D2C-F7EB-6644-A447-CE069A303EEA}" dt="2023-11-26T14:19:51.264" v="877" actId="478"/>
          <ac:spMkLst>
            <pc:docMk/>
            <pc:sldMk cId="1899087313" sldId="257"/>
            <ac:spMk id="1045" creationId="{5CA130BB-4BBB-5DA4-96B0-88C5D390A212}"/>
          </ac:spMkLst>
        </pc:spChg>
        <pc:spChg chg="add del mod">
          <ac:chgData name="Jaspreet Kalsi" userId="6f701f51b128fcbf" providerId="LiveId" clId="{EE705D2C-F7EB-6644-A447-CE069A303EEA}" dt="2023-11-27T14:49:09.511" v="1253"/>
          <ac:spMkLst>
            <pc:docMk/>
            <pc:sldMk cId="1899087313" sldId="257"/>
            <ac:spMk id="1060" creationId="{0BF326AF-21CA-2AD3-ECB0-0FD30B5AEA57}"/>
          </ac:spMkLst>
        </pc:spChg>
        <pc:spChg chg="add mod">
          <ac:chgData name="Jaspreet Kalsi" userId="6f701f51b128fcbf" providerId="LiveId" clId="{EE705D2C-F7EB-6644-A447-CE069A303EEA}" dt="2023-11-27T14:49:15.887" v="1254"/>
          <ac:spMkLst>
            <pc:docMk/>
            <pc:sldMk cId="1899087313" sldId="257"/>
            <ac:spMk id="1061" creationId="{C0B9E9D6-4AA7-180C-143F-8FDE5B0EAE33}"/>
          </ac:spMkLst>
        </pc:spChg>
        <pc:spChg chg="add mod">
          <ac:chgData name="Jaspreet Kalsi" userId="6f701f51b128fcbf" providerId="LiveId" clId="{EE705D2C-F7EB-6644-A447-CE069A303EEA}" dt="2023-11-27T15:19:31.286" v="3041" actId="20577"/>
          <ac:spMkLst>
            <pc:docMk/>
            <pc:sldMk cId="1899087313" sldId="257"/>
            <ac:spMk id="1063" creationId="{146A68C3-5674-4409-8298-368DAC482380}"/>
          </ac:spMkLst>
        </pc:spChg>
        <pc:spChg chg="add mod">
          <ac:chgData name="Jaspreet Kalsi" userId="6f701f51b128fcbf" providerId="LiveId" clId="{EE705D2C-F7EB-6644-A447-CE069A303EEA}" dt="2023-11-27T18:22:06.220" v="5725"/>
          <ac:spMkLst>
            <pc:docMk/>
            <pc:sldMk cId="1899087313" sldId="257"/>
            <ac:spMk id="1064" creationId="{EBF1497B-4EE5-0FDF-D205-BEA2C65F7C59}"/>
          </ac:spMkLst>
        </pc:spChg>
        <pc:spChg chg="add mod">
          <ac:chgData name="Jaspreet Kalsi" userId="6f701f51b128fcbf" providerId="LiveId" clId="{EE705D2C-F7EB-6644-A447-CE069A303EEA}" dt="2023-11-27T18:22:06.220" v="5725"/>
          <ac:spMkLst>
            <pc:docMk/>
            <pc:sldMk cId="1899087313" sldId="257"/>
            <ac:spMk id="1065" creationId="{531651B9-D3A6-C040-C603-EF8C54D64432}"/>
          </ac:spMkLst>
        </pc:spChg>
        <pc:spChg chg="add mod">
          <ac:chgData name="Jaspreet Kalsi" userId="6f701f51b128fcbf" providerId="LiveId" clId="{EE705D2C-F7EB-6644-A447-CE069A303EEA}" dt="2023-11-27T18:22:06.220" v="5725"/>
          <ac:spMkLst>
            <pc:docMk/>
            <pc:sldMk cId="1899087313" sldId="257"/>
            <ac:spMk id="1066" creationId="{1EA46238-94D0-E915-48AF-E817E9AC5709}"/>
          </ac:spMkLst>
        </pc:spChg>
        <pc:spChg chg="add mod">
          <ac:chgData name="Jaspreet Kalsi" userId="6f701f51b128fcbf" providerId="LiveId" clId="{EE705D2C-F7EB-6644-A447-CE069A303EEA}" dt="2023-11-27T18:22:06.220" v="5725"/>
          <ac:spMkLst>
            <pc:docMk/>
            <pc:sldMk cId="1899087313" sldId="257"/>
            <ac:spMk id="1067" creationId="{702630E8-3670-664C-5B11-B630BD1F9CFB}"/>
          </ac:spMkLst>
        </pc:spChg>
        <pc:spChg chg="add mod">
          <ac:chgData name="Jaspreet Kalsi" userId="6f701f51b128fcbf" providerId="LiveId" clId="{EE705D2C-F7EB-6644-A447-CE069A303EEA}" dt="2023-11-27T18:22:06.220" v="5725"/>
          <ac:spMkLst>
            <pc:docMk/>
            <pc:sldMk cId="1899087313" sldId="257"/>
            <ac:spMk id="1068" creationId="{2E1E644E-2558-69C5-756C-2C296A095929}"/>
          </ac:spMkLst>
        </pc:spChg>
        <pc:spChg chg="add mod">
          <ac:chgData name="Jaspreet Kalsi" userId="6f701f51b128fcbf" providerId="LiveId" clId="{EE705D2C-F7EB-6644-A447-CE069A303EEA}" dt="2023-11-27T18:22:06.220" v="5725"/>
          <ac:spMkLst>
            <pc:docMk/>
            <pc:sldMk cId="1899087313" sldId="257"/>
            <ac:spMk id="1069" creationId="{6DF8EB0F-B690-BEE3-11C8-A7784B4E7FC8}"/>
          </ac:spMkLst>
        </pc:spChg>
        <pc:grpChg chg="del">
          <ac:chgData name="Jaspreet Kalsi" userId="6f701f51b128fcbf" providerId="LiveId" clId="{EE705D2C-F7EB-6644-A447-CE069A303EEA}" dt="2023-11-26T14:20:35.881" v="878" actId="478"/>
          <ac:grpSpMkLst>
            <pc:docMk/>
            <pc:sldMk cId="1899087313" sldId="257"/>
            <ac:grpSpMk id="61" creationId="{37C74FC5-B981-21BD-F758-3BC83E483226}"/>
          </ac:grpSpMkLst>
        </pc:grpChg>
        <pc:grpChg chg="del">
          <ac:chgData name="Jaspreet Kalsi" userId="6f701f51b128fcbf" providerId="LiveId" clId="{EE705D2C-F7EB-6644-A447-CE069A303EEA}" dt="2023-11-27T14:50:22.630" v="1300" actId="478"/>
          <ac:grpSpMkLst>
            <pc:docMk/>
            <pc:sldMk cId="1899087313" sldId="257"/>
            <ac:grpSpMk id="1025" creationId="{2623E88C-031E-6A84-C964-AA78B1BD632D}"/>
          </ac:grpSpMkLst>
        </pc:grpChg>
        <pc:grpChg chg="del">
          <ac:chgData name="Jaspreet Kalsi" userId="6f701f51b128fcbf" providerId="LiveId" clId="{EE705D2C-F7EB-6644-A447-CE069A303EEA}" dt="2023-11-27T14:50:26.851" v="1302" actId="21"/>
          <ac:grpSpMkLst>
            <pc:docMk/>
            <pc:sldMk cId="1899087313" sldId="257"/>
            <ac:grpSpMk id="1046" creationId="{8DE97CF0-A119-9B4B-FCE0-F344B5235EFB}"/>
          </ac:grpSpMkLst>
        </pc:grpChg>
        <pc:picChg chg="add mod">
          <ac:chgData name="Jaspreet Kalsi" userId="6f701f51b128fcbf" providerId="LiveId" clId="{EE705D2C-F7EB-6644-A447-CE069A303EEA}" dt="2023-11-27T14:50:12.853" v="1298" actId="1076"/>
          <ac:picMkLst>
            <pc:docMk/>
            <pc:sldMk cId="1899087313" sldId="257"/>
            <ac:picMk id="1062" creationId="{D066817C-FC8F-EF4E-ED43-59ABBB87E3BD}"/>
          </ac:picMkLst>
        </pc:picChg>
        <pc:cxnChg chg="del">
          <ac:chgData name="Jaspreet Kalsi" userId="6f701f51b128fcbf" providerId="LiveId" clId="{EE705D2C-F7EB-6644-A447-CE069A303EEA}" dt="2023-11-27T14:50:24.201" v="1301" actId="478"/>
          <ac:cxnSpMkLst>
            <pc:docMk/>
            <pc:sldMk cId="1899087313" sldId="257"/>
            <ac:cxnSpMk id="1033" creationId="{5299E96C-F8A2-9423-A221-150AB8908F15}"/>
          </ac:cxnSpMkLst>
        </pc:cxnChg>
        <pc:cxnChg chg="del">
          <ac:chgData name="Jaspreet Kalsi" userId="6f701f51b128fcbf" providerId="LiveId" clId="{EE705D2C-F7EB-6644-A447-CE069A303EEA}" dt="2023-11-26T14:20:42.017" v="879" actId="478"/>
          <ac:cxnSpMkLst>
            <pc:docMk/>
            <pc:sldMk cId="1899087313" sldId="257"/>
            <ac:cxnSpMk id="1034" creationId="{9B9FF128-76D7-BA42-BB3D-17FB0CB18BF6}"/>
          </ac:cxnSpMkLst>
        </pc:cxnChg>
      </pc:sldChg>
      <pc:sldChg chg="addSp delSp modSp mod">
        <pc:chgData name="Jaspreet Kalsi" userId="6f701f51b128fcbf" providerId="LiveId" clId="{EE705D2C-F7EB-6644-A447-CE069A303EEA}" dt="2023-11-27T18:34:04.647" v="5733"/>
        <pc:sldMkLst>
          <pc:docMk/>
          <pc:sldMk cId="1364350643" sldId="258"/>
        </pc:sldMkLst>
        <pc:spChg chg="del">
          <ac:chgData name="Jaspreet Kalsi" userId="6f701f51b128fcbf" providerId="LiveId" clId="{EE705D2C-F7EB-6644-A447-CE069A303EEA}" dt="2023-11-27T18:34:03.457" v="5732" actId="478"/>
          <ac:spMkLst>
            <pc:docMk/>
            <pc:sldMk cId="1364350643" sldId="258"/>
            <ac:spMk id="3" creationId="{100D3526-C855-D54C-A854-118A3BDDF39A}"/>
          </ac:spMkLst>
        </pc:spChg>
        <pc:spChg chg="del">
          <ac:chgData name="Jaspreet Kalsi" userId="6f701f51b128fcbf" providerId="LiveId" clId="{EE705D2C-F7EB-6644-A447-CE069A303EEA}" dt="2023-11-27T18:34:03.457" v="5732" actId="478"/>
          <ac:spMkLst>
            <pc:docMk/>
            <pc:sldMk cId="1364350643" sldId="258"/>
            <ac:spMk id="6" creationId="{C37D8155-ABD6-F7A4-7BD8-AE4C6523263F}"/>
          </ac:spMkLst>
        </pc:spChg>
        <pc:spChg chg="mod">
          <ac:chgData name="Jaspreet Kalsi" userId="6f701f51b128fcbf" providerId="LiveId" clId="{EE705D2C-F7EB-6644-A447-CE069A303EEA}" dt="2023-11-27T15:21:45.026" v="3379" actId="20577"/>
          <ac:spMkLst>
            <pc:docMk/>
            <pc:sldMk cId="1364350643" sldId="258"/>
            <ac:spMk id="18" creationId="{355AC3A1-175C-0DC3-DBAF-F626A9F3780A}"/>
          </ac:spMkLst>
        </pc:spChg>
        <pc:spChg chg="mod">
          <ac:chgData name="Jaspreet Kalsi" userId="6f701f51b128fcbf" providerId="LiveId" clId="{EE705D2C-F7EB-6644-A447-CE069A303EEA}" dt="2023-11-26T14:28:24.241" v="975" actId="1076"/>
          <ac:spMkLst>
            <pc:docMk/>
            <pc:sldMk cId="1364350643" sldId="258"/>
            <ac:spMk id="19" creationId="{E642CB68-7691-44D5-88F4-20E83F6DA0D7}"/>
          </ac:spMkLst>
        </pc:spChg>
        <pc:spChg chg="del">
          <ac:chgData name="Jaspreet Kalsi" userId="6f701f51b128fcbf" providerId="LiveId" clId="{EE705D2C-F7EB-6644-A447-CE069A303EEA}" dt="2023-11-27T18:34:03.457" v="5732" actId="478"/>
          <ac:spMkLst>
            <pc:docMk/>
            <pc:sldMk cId="1364350643" sldId="258"/>
            <ac:spMk id="21" creationId="{ED46B618-2CF9-7941-4EA2-0BAE302EE4DF}"/>
          </ac:spMkLst>
        </pc:spChg>
        <pc:spChg chg="del">
          <ac:chgData name="Jaspreet Kalsi" userId="6f701f51b128fcbf" providerId="LiveId" clId="{EE705D2C-F7EB-6644-A447-CE069A303EEA}" dt="2023-11-27T18:34:03.457" v="5732" actId="478"/>
          <ac:spMkLst>
            <pc:docMk/>
            <pc:sldMk cId="1364350643" sldId="258"/>
            <ac:spMk id="23" creationId="{75360DE8-31EE-FAA3-E777-47004567BD15}"/>
          </ac:spMkLst>
        </pc:spChg>
        <pc:spChg chg="del">
          <ac:chgData name="Jaspreet Kalsi" userId="6f701f51b128fcbf" providerId="LiveId" clId="{EE705D2C-F7EB-6644-A447-CE069A303EEA}" dt="2023-11-27T18:34:03.457" v="5732" actId="478"/>
          <ac:spMkLst>
            <pc:docMk/>
            <pc:sldMk cId="1364350643" sldId="258"/>
            <ac:spMk id="24" creationId="{12F45DBD-39B5-8EEA-4A17-0E22C21E483A}"/>
          </ac:spMkLst>
        </pc:spChg>
        <pc:spChg chg="del">
          <ac:chgData name="Jaspreet Kalsi" userId="6f701f51b128fcbf" providerId="LiveId" clId="{EE705D2C-F7EB-6644-A447-CE069A303EEA}" dt="2023-11-27T18:34:03.457" v="5732" actId="478"/>
          <ac:spMkLst>
            <pc:docMk/>
            <pc:sldMk cId="1364350643" sldId="258"/>
            <ac:spMk id="25" creationId="{B3D8B386-F8F1-A598-25C0-8F33F16B23D7}"/>
          </ac:spMkLst>
        </pc:spChg>
        <pc:spChg chg="mod">
          <ac:chgData name="Jaspreet Kalsi" userId="6f701f51b128fcbf" providerId="LiveId" clId="{EE705D2C-F7EB-6644-A447-CE069A303EEA}" dt="2023-11-27T15:23:47.158" v="3505" actId="20577"/>
          <ac:spMkLst>
            <pc:docMk/>
            <pc:sldMk cId="1364350643" sldId="258"/>
            <ac:spMk id="59" creationId="{0084DDBB-2CC3-5D6C-15EE-729122A3D525}"/>
          </ac:spMkLst>
        </pc:spChg>
        <pc:spChg chg="add del mod">
          <ac:chgData name="Jaspreet Kalsi" userId="6f701f51b128fcbf" providerId="LiveId" clId="{EE705D2C-F7EB-6644-A447-CE069A303EEA}" dt="2023-11-27T15:06:58.833" v="2081" actId="21"/>
          <ac:spMkLst>
            <pc:docMk/>
            <pc:sldMk cId="1364350643" sldId="258"/>
            <ac:spMk id="1024" creationId="{EB5BD894-A424-0083-4F33-4AFD8EE52A76}"/>
          </ac:spMkLst>
        </pc:spChg>
        <pc:spChg chg="add mod">
          <ac:chgData name="Jaspreet Kalsi" userId="6f701f51b128fcbf" providerId="LiveId" clId="{EE705D2C-F7EB-6644-A447-CE069A303EEA}" dt="2023-11-27T15:07:32.017" v="2190" actId="1036"/>
          <ac:spMkLst>
            <pc:docMk/>
            <pc:sldMk cId="1364350643" sldId="258"/>
            <ac:spMk id="1025" creationId="{CD5B9DA6-8844-4CB4-9B27-79AC3917C918}"/>
          </ac:spMkLst>
        </pc:spChg>
        <pc:spChg chg="add mod">
          <ac:chgData name="Jaspreet Kalsi" userId="6f701f51b128fcbf" providerId="LiveId" clId="{EE705D2C-F7EB-6644-A447-CE069A303EEA}" dt="2023-11-27T15:08:26.361" v="2298" actId="1035"/>
          <ac:spMkLst>
            <pc:docMk/>
            <pc:sldMk cId="1364350643" sldId="258"/>
            <ac:spMk id="1029" creationId="{2209D95D-CCF5-76CB-648A-B828E79431BC}"/>
          </ac:spMkLst>
        </pc:spChg>
        <pc:spChg chg="add mod">
          <ac:chgData name="Jaspreet Kalsi" userId="6f701f51b128fcbf" providerId="LiveId" clId="{EE705D2C-F7EB-6644-A447-CE069A303EEA}" dt="2023-11-27T18:07:10.038" v="4696" actId="20577"/>
          <ac:spMkLst>
            <pc:docMk/>
            <pc:sldMk cId="1364350643" sldId="258"/>
            <ac:spMk id="1031" creationId="{877A0800-E577-06AD-FC3D-DC589BF856FD}"/>
          </ac:spMkLst>
        </pc:spChg>
        <pc:spChg chg="add mod">
          <ac:chgData name="Jaspreet Kalsi" userId="6f701f51b128fcbf" providerId="LiveId" clId="{EE705D2C-F7EB-6644-A447-CE069A303EEA}" dt="2023-11-27T18:34:04.647" v="5733"/>
          <ac:spMkLst>
            <pc:docMk/>
            <pc:sldMk cId="1364350643" sldId="258"/>
            <ac:spMk id="1033" creationId="{4C3D8674-2966-628C-2FC1-0DBCF6FB1F28}"/>
          </ac:spMkLst>
        </pc:spChg>
        <pc:spChg chg="add mod">
          <ac:chgData name="Jaspreet Kalsi" userId="6f701f51b128fcbf" providerId="LiveId" clId="{EE705D2C-F7EB-6644-A447-CE069A303EEA}" dt="2023-11-27T18:34:04.647" v="5733"/>
          <ac:spMkLst>
            <pc:docMk/>
            <pc:sldMk cId="1364350643" sldId="258"/>
            <ac:spMk id="1034" creationId="{C4F4F8B8-CC12-2656-9EB6-519137782FED}"/>
          </ac:spMkLst>
        </pc:spChg>
        <pc:spChg chg="add mod">
          <ac:chgData name="Jaspreet Kalsi" userId="6f701f51b128fcbf" providerId="LiveId" clId="{EE705D2C-F7EB-6644-A447-CE069A303EEA}" dt="2023-11-27T18:34:04.647" v="5733"/>
          <ac:spMkLst>
            <pc:docMk/>
            <pc:sldMk cId="1364350643" sldId="258"/>
            <ac:spMk id="1035" creationId="{F33DFA27-C518-0F38-F45F-4FDC7578F609}"/>
          </ac:spMkLst>
        </pc:spChg>
        <pc:spChg chg="add mod">
          <ac:chgData name="Jaspreet Kalsi" userId="6f701f51b128fcbf" providerId="LiveId" clId="{EE705D2C-F7EB-6644-A447-CE069A303EEA}" dt="2023-11-27T18:34:04.647" v="5733"/>
          <ac:spMkLst>
            <pc:docMk/>
            <pc:sldMk cId="1364350643" sldId="258"/>
            <ac:spMk id="1046" creationId="{8664DD69-13F0-CB1D-2B8F-247321206639}"/>
          </ac:spMkLst>
        </pc:spChg>
        <pc:spChg chg="add mod">
          <ac:chgData name="Jaspreet Kalsi" userId="6f701f51b128fcbf" providerId="LiveId" clId="{EE705D2C-F7EB-6644-A447-CE069A303EEA}" dt="2023-11-27T18:34:04.647" v="5733"/>
          <ac:spMkLst>
            <pc:docMk/>
            <pc:sldMk cId="1364350643" sldId="258"/>
            <ac:spMk id="1059" creationId="{8A14F5D4-41EE-E73E-489B-D412DD06EAE7}"/>
          </ac:spMkLst>
        </pc:spChg>
        <pc:spChg chg="add mod">
          <ac:chgData name="Jaspreet Kalsi" userId="6f701f51b128fcbf" providerId="LiveId" clId="{EE705D2C-F7EB-6644-A447-CE069A303EEA}" dt="2023-11-27T18:34:04.647" v="5733"/>
          <ac:spMkLst>
            <pc:docMk/>
            <pc:sldMk cId="1364350643" sldId="258"/>
            <ac:spMk id="1061" creationId="{92F04FEF-01CD-5474-B756-F0A12BFD7E03}"/>
          </ac:spMkLst>
        </pc:spChg>
        <pc:grpChg chg="del">
          <ac:chgData name="Jaspreet Kalsi" userId="6f701f51b128fcbf" providerId="LiveId" clId="{EE705D2C-F7EB-6644-A447-CE069A303EEA}" dt="2023-11-27T18:02:15.647" v="4249" actId="478"/>
          <ac:grpSpMkLst>
            <pc:docMk/>
            <pc:sldMk cId="1364350643" sldId="258"/>
            <ac:grpSpMk id="1166" creationId="{8CA184C5-DD84-6660-263F-6CF564823CC4}"/>
          </ac:grpSpMkLst>
        </pc:grpChg>
        <pc:picChg chg="add mod">
          <ac:chgData name="Jaspreet Kalsi" userId="6f701f51b128fcbf" providerId="LiveId" clId="{EE705D2C-F7EB-6644-A447-CE069A303EEA}" dt="2023-11-27T15:06:28.207" v="2028" actId="1076"/>
          <ac:picMkLst>
            <pc:docMk/>
            <pc:sldMk cId="1364350643" sldId="258"/>
            <ac:picMk id="28" creationId="{51EBF803-09C5-C67E-1C1C-D93843F6A762}"/>
          </ac:picMkLst>
        </pc:picChg>
        <pc:picChg chg="add mod">
          <ac:chgData name="Jaspreet Kalsi" userId="6f701f51b128fcbf" providerId="LiveId" clId="{EE705D2C-F7EB-6644-A447-CE069A303EEA}" dt="2023-11-27T15:09:10.818" v="2305" actId="14100"/>
          <ac:picMkLst>
            <pc:docMk/>
            <pc:sldMk cId="1364350643" sldId="258"/>
            <ac:picMk id="29" creationId="{AF6CB9DB-9E05-CDCA-4A70-144391EC1BA4}"/>
          </ac:picMkLst>
        </pc:picChg>
        <pc:picChg chg="add del">
          <ac:chgData name="Jaspreet Kalsi" userId="6f701f51b128fcbf" providerId="LiveId" clId="{EE705D2C-F7EB-6644-A447-CE069A303EEA}" dt="2023-11-27T15:07:46.640" v="2192" actId="478"/>
          <ac:picMkLst>
            <pc:docMk/>
            <pc:sldMk cId="1364350643" sldId="258"/>
            <ac:picMk id="1027" creationId="{F7903D7D-45B3-06E0-56F1-D92A0073D8C3}"/>
          </ac:picMkLst>
        </pc:picChg>
        <pc:picChg chg="add mod">
          <ac:chgData name="Jaspreet Kalsi" userId="6f701f51b128fcbf" providerId="LiveId" clId="{EE705D2C-F7EB-6644-A447-CE069A303EEA}" dt="2023-11-27T15:09:16.892" v="2307" actId="1076"/>
          <ac:picMkLst>
            <pc:docMk/>
            <pc:sldMk cId="1364350643" sldId="258"/>
            <ac:picMk id="1028" creationId="{7872396A-B58F-8DD2-AB00-A90288247E97}"/>
          </ac:picMkLst>
        </pc:picChg>
        <pc:picChg chg="add mod">
          <ac:chgData name="Jaspreet Kalsi" userId="6f701f51b128fcbf" providerId="LiveId" clId="{EE705D2C-F7EB-6644-A447-CE069A303EEA}" dt="2023-11-27T15:09:06.862" v="2304" actId="1076"/>
          <ac:picMkLst>
            <pc:docMk/>
            <pc:sldMk cId="1364350643" sldId="258"/>
            <ac:picMk id="1030" creationId="{6F793BEB-3AAA-3AAD-7AA2-89236287204E}"/>
          </ac:picMkLst>
        </pc:picChg>
      </pc:sldChg>
      <pc:sldChg chg="addSp delSp modSp mod">
        <pc:chgData name="Jaspreet Kalsi" userId="6f701f51b128fcbf" providerId="LiveId" clId="{EE705D2C-F7EB-6644-A447-CE069A303EEA}" dt="2023-11-27T18:19:26.893" v="5709" actId="21"/>
        <pc:sldMkLst>
          <pc:docMk/>
          <pc:sldMk cId="3738388929" sldId="259"/>
        </pc:sldMkLst>
        <pc:spChg chg="mod">
          <ac:chgData name="Jaspreet Kalsi" userId="6f701f51b128fcbf" providerId="LiveId" clId="{EE705D2C-F7EB-6644-A447-CE069A303EEA}" dt="2023-11-26T14:00:06.519" v="474" actId="20577"/>
          <ac:spMkLst>
            <pc:docMk/>
            <pc:sldMk cId="3738388929" sldId="259"/>
            <ac:spMk id="2" creationId="{CB529057-8E8F-C756-316D-3D36CCE9A37F}"/>
          </ac:spMkLst>
        </pc:spChg>
        <pc:spChg chg="mod">
          <ac:chgData name="Jaspreet Kalsi" userId="6f701f51b128fcbf" providerId="LiveId" clId="{EE705D2C-F7EB-6644-A447-CE069A303EEA}" dt="2023-11-27T18:15:22.557" v="5251" actId="20577"/>
          <ac:spMkLst>
            <pc:docMk/>
            <pc:sldMk cId="3738388929" sldId="259"/>
            <ac:spMk id="3" creationId="{149AC35B-E965-00FC-8101-0667EBACDB76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5" creationId="{BD5D1E91-DF1E-3A83-D016-43C9CC977B6C}"/>
          </ac:spMkLst>
        </pc:spChg>
        <pc:spChg chg="mod">
          <ac:chgData name="Jaspreet Kalsi" userId="6f701f51b128fcbf" providerId="LiveId" clId="{EE705D2C-F7EB-6644-A447-CE069A303EEA}" dt="2023-11-27T18:14:49.335" v="5196" actId="20577"/>
          <ac:spMkLst>
            <pc:docMk/>
            <pc:sldMk cId="3738388929" sldId="259"/>
            <ac:spMk id="6" creationId="{C37D8155-ABD6-F7A4-7BD8-AE4C6523263F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8" creationId="{26762164-400E-E6AF-C554-F89B22CC8FAF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9" creationId="{70A91313-16DC-0CBF-8557-5C3B6B6EEB4E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11" creationId="{9D115F21-E694-E7DA-E14C-5A78349903A6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12" creationId="{D54B7384-AB70-82C5-E34A-AF92FEA96AD1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13" creationId="{AB1ECDFF-E962-5F9C-2B64-7A50FF41C7CE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14" creationId="{539C8972-29D3-D925-ED9B-54130F2FCED9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15" creationId="{E7701B33-F717-C098-51EF-20095EECEEE5}"/>
          </ac:spMkLst>
        </pc:spChg>
        <pc:spChg chg="mod">
          <ac:chgData name="Jaspreet Kalsi" userId="6f701f51b128fcbf" providerId="LiveId" clId="{EE705D2C-F7EB-6644-A447-CE069A303EEA}" dt="2023-11-26T13:59:42.725" v="448" actId="1038"/>
          <ac:spMkLst>
            <pc:docMk/>
            <pc:sldMk cId="3738388929" sldId="259"/>
            <ac:spMk id="16" creationId="{534D679F-BFDE-B875-C9D8-CCEB3156FE88}"/>
          </ac:spMkLst>
        </pc:spChg>
        <pc:spChg chg="mod">
          <ac:chgData name="Jaspreet Kalsi" userId="6f701f51b128fcbf" providerId="LiveId" clId="{EE705D2C-F7EB-6644-A447-CE069A303EEA}" dt="2023-11-26T13:57:20.466" v="407" actId="1076"/>
          <ac:spMkLst>
            <pc:docMk/>
            <pc:sldMk cId="3738388929" sldId="259"/>
            <ac:spMk id="19" creationId="{E642CB68-7691-44D5-88F4-20E83F6DA0D7}"/>
          </ac:spMkLst>
        </pc:spChg>
        <pc:spChg chg="mod">
          <ac:chgData name="Jaspreet Kalsi" userId="6f701f51b128fcbf" providerId="LiveId" clId="{EE705D2C-F7EB-6644-A447-CE069A303EEA}" dt="2023-11-26T13:58:18.045" v="422" actId="20577"/>
          <ac:spMkLst>
            <pc:docMk/>
            <pc:sldMk cId="3738388929" sldId="259"/>
            <ac:spMk id="21" creationId="{ED46B618-2CF9-7941-4EA2-0BAE302EE4DF}"/>
          </ac:spMkLst>
        </pc:spChg>
        <pc:spChg chg="mod">
          <ac:chgData name="Jaspreet Kalsi" userId="6f701f51b128fcbf" providerId="LiveId" clId="{EE705D2C-F7EB-6644-A447-CE069A303EEA}" dt="2023-11-27T18:15:00.314" v="5219" actId="20577"/>
          <ac:spMkLst>
            <pc:docMk/>
            <pc:sldMk cId="3738388929" sldId="259"/>
            <ac:spMk id="24" creationId="{12F45DBD-39B5-8EEA-4A17-0E22C21E483A}"/>
          </ac:spMkLst>
        </pc:spChg>
        <pc:spChg chg="mod">
          <ac:chgData name="Jaspreet Kalsi" userId="6f701f51b128fcbf" providerId="LiveId" clId="{EE705D2C-F7EB-6644-A447-CE069A303EEA}" dt="2023-11-27T18:15:05.407" v="5233" actId="20577"/>
          <ac:spMkLst>
            <pc:docMk/>
            <pc:sldMk cId="3738388929" sldId="259"/>
            <ac:spMk id="25" creationId="{B3D8B386-F8F1-A598-25C0-8F33F16B23D7}"/>
          </ac:spMkLst>
        </pc:spChg>
        <pc:spChg chg="mod">
          <ac:chgData name="Jaspreet Kalsi" userId="6f701f51b128fcbf" providerId="LiveId" clId="{EE705D2C-F7EB-6644-A447-CE069A303EEA}" dt="2023-11-26T13:59:16.512" v="441"/>
          <ac:spMkLst>
            <pc:docMk/>
            <pc:sldMk cId="3738388929" sldId="259"/>
            <ac:spMk id="28" creationId="{380CF99D-8CEC-4A07-0CEF-D94E8EE087CC}"/>
          </ac:spMkLst>
        </pc:spChg>
        <pc:spChg chg="mod">
          <ac:chgData name="Jaspreet Kalsi" userId="6f701f51b128fcbf" providerId="LiveId" clId="{EE705D2C-F7EB-6644-A447-CE069A303EEA}" dt="2023-11-26T13:59:54.866" v="451" actId="1076"/>
          <ac:spMkLst>
            <pc:docMk/>
            <pc:sldMk cId="3738388929" sldId="259"/>
            <ac:spMk id="1037" creationId="{78C37A5C-C91B-9044-27D6-8F391B845742}"/>
          </ac:spMkLst>
        </pc:spChg>
        <pc:spChg chg="mod">
          <ac:chgData name="Jaspreet Kalsi" userId="6f701f51b128fcbf" providerId="LiveId" clId="{EE705D2C-F7EB-6644-A447-CE069A303EEA}" dt="2023-11-26T13:59:54.866" v="451" actId="1076"/>
          <ac:spMkLst>
            <pc:docMk/>
            <pc:sldMk cId="3738388929" sldId="259"/>
            <ac:spMk id="1038" creationId="{D85A1BE9-60DB-F019-DD69-44D7B439019C}"/>
          </ac:spMkLst>
        </pc:spChg>
        <pc:spChg chg="mod">
          <ac:chgData name="Jaspreet Kalsi" userId="6f701f51b128fcbf" providerId="LiveId" clId="{EE705D2C-F7EB-6644-A447-CE069A303EEA}" dt="2023-11-26T13:59:54.866" v="451" actId="1076"/>
          <ac:spMkLst>
            <pc:docMk/>
            <pc:sldMk cId="3738388929" sldId="259"/>
            <ac:spMk id="1039" creationId="{E958D838-16E4-F50B-23BF-CD6D45A75785}"/>
          </ac:spMkLst>
        </pc:spChg>
        <pc:spChg chg="mod">
          <ac:chgData name="Jaspreet Kalsi" userId="6f701f51b128fcbf" providerId="LiveId" clId="{EE705D2C-F7EB-6644-A447-CE069A303EEA}" dt="2023-11-26T13:59:54.866" v="451" actId="1076"/>
          <ac:spMkLst>
            <pc:docMk/>
            <pc:sldMk cId="3738388929" sldId="259"/>
            <ac:spMk id="1040" creationId="{6959AF5A-8014-EB78-8EEA-A82DD80D00FA}"/>
          </ac:spMkLst>
        </pc:spChg>
        <pc:spChg chg="mod">
          <ac:chgData name="Jaspreet Kalsi" userId="6f701f51b128fcbf" providerId="LiveId" clId="{EE705D2C-F7EB-6644-A447-CE069A303EEA}" dt="2023-11-26T13:59:54.866" v="451" actId="1076"/>
          <ac:spMkLst>
            <pc:docMk/>
            <pc:sldMk cId="3738388929" sldId="259"/>
            <ac:spMk id="1041" creationId="{A5EAEB2C-1728-5B92-187E-D54C3F2551DD}"/>
          </ac:spMkLst>
        </pc:spChg>
        <pc:spChg chg="mod">
          <ac:chgData name="Jaspreet Kalsi" userId="6f701f51b128fcbf" providerId="LiveId" clId="{EE705D2C-F7EB-6644-A447-CE069A303EEA}" dt="2023-11-26T13:59:54.866" v="451" actId="1076"/>
          <ac:spMkLst>
            <pc:docMk/>
            <pc:sldMk cId="3738388929" sldId="259"/>
            <ac:spMk id="1042" creationId="{7E997864-CC9D-D8DD-EE44-D04B09CB787A}"/>
          </ac:spMkLst>
        </pc:spChg>
        <pc:grpChg chg="mod">
          <ac:chgData name="Jaspreet Kalsi" userId="6f701f51b128fcbf" providerId="LiveId" clId="{EE705D2C-F7EB-6644-A447-CE069A303EEA}" dt="2023-11-26T13:59:42.725" v="448" actId="1038"/>
          <ac:grpSpMkLst>
            <pc:docMk/>
            <pc:sldMk cId="3738388929" sldId="259"/>
            <ac:grpSpMk id="4" creationId="{717212D6-0B40-9DE6-5EAE-AB1F22D6F44B}"/>
          </ac:grpSpMkLst>
        </pc:grpChg>
        <pc:grpChg chg="add del mod">
          <ac:chgData name="Jaspreet Kalsi" userId="6f701f51b128fcbf" providerId="LiveId" clId="{EE705D2C-F7EB-6644-A447-CE069A303EEA}" dt="2023-11-27T18:19:26.893" v="5709" actId="21"/>
          <ac:grpSpMkLst>
            <pc:docMk/>
            <pc:sldMk cId="3738388929" sldId="259"/>
            <ac:grpSpMk id="1036" creationId="{74F3A740-AD9E-F587-C3FF-956880489C46}"/>
          </ac:grpSpMkLst>
        </pc:grpChg>
        <pc:picChg chg="add mod">
          <ac:chgData name="Jaspreet Kalsi" userId="6f701f51b128fcbf" providerId="LiveId" clId="{EE705D2C-F7EB-6644-A447-CE069A303EEA}" dt="2023-11-26T13:59:05.471" v="428" actId="14100"/>
          <ac:picMkLst>
            <pc:docMk/>
            <pc:sldMk cId="3738388929" sldId="259"/>
            <ac:picMk id="44" creationId="{3811DB28-AE1C-A3D4-397D-9A37698E2CA9}"/>
          </ac:picMkLst>
        </pc:picChg>
      </pc:sldChg>
      <pc:sldChg chg="addSp delSp modSp mod modNotesTx">
        <pc:chgData name="Jaspreet Kalsi" userId="6f701f51b128fcbf" providerId="LiveId" clId="{EE705D2C-F7EB-6644-A447-CE069A303EEA}" dt="2023-11-27T18:19:10.128" v="5707" actId="20577"/>
        <pc:sldMkLst>
          <pc:docMk/>
          <pc:sldMk cId="4062347060" sldId="260"/>
        </pc:sldMkLst>
        <pc:spChg chg="del">
          <ac:chgData name="Jaspreet Kalsi" userId="6f701f51b128fcbf" providerId="LiveId" clId="{EE705D2C-F7EB-6644-A447-CE069A303EEA}" dt="2023-11-27T18:14:25.754" v="5172" actId="478"/>
          <ac:spMkLst>
            <pc:docMk/>
            <pc:sldMk cId="4062347060" sldId="260"/>
            <ac:spMk id="7" creationId="{65B2C9A2-1342-B227-1FF2-4DCEED4DB516}"/>
          </ac:spMkLst>
        </pc:spChg>
        <pc:spChg chg="mod">
          <ac:chgData name="Jaspreet Kalsi" userId="6f701f51b128fcbf" providerId="LiveId" clId="{EE705D2C-F7EB-6644-A447-CE069A303EEA}" dt="2023-11-27T18:16:05.520" v="5254" actId="1076"/>
          <ac:spMkLst>
            <pc:docMk/>
            <pc:sldMk cId="4062347060" sldId="260"/>
            <ac:spMk id="17" creationId="{9A7B8DBE-2EAE-7839-9C80-79EC67CF8397}"/>
          </ac:spMkLst>
        </pc:spChg>
        <pc:spChg chg="add mod">
          <ac:chgData name="Jaspreet Kalsi" userId="6f701f51b128fcbf" providerId="LiveId" clId="{EE705D2C-F7EB-6644-A447-CE069A303EEA}" dt="2023-11-27T18:19:10.128" v="5707" actId="20577"/>
          <ac:spMkLst>
            <pc:docMk/>
            <pc:sldMk cId="4062347060" sldId="260"/>
            <ac:spMk id="28" creationId="{92087972-F21C-2513-B7AF-FA117A95A8EB}"/>
          </ac:spMkLst>
        </pc:spChg>
        <pc:spChg chg="del">
          <ac:chgData name="Jaspreet Kalsi" userId="6f701f51b128fcbf" providerId="LiveId" clId="{EE705D2C-F7EB-6644-A447-CE069A303EEA}" dt="2023-11-27T18:14:23.660" v="5171" actId="478"/>
          <ac:spMkLst>
            <pc:docMk/>
            <pc:sldMk cId="4062347060" sldId="260"/>
            <ac:spMk id="38" creationId="{BDC3AE05-DD78-4EB8-E5DF-AAF98556B8FA}"/>
          </ac:spMkLst>
        </pc:spChg>
        <pc:spChg chg="del">
          <ac:chgData name="Jaspreet Kalsi" userId="6f701f51b128fcbf" providerId="LiveId" clId="{EE705D2C-F7EB-6644-A447-CE069A303EEA}" dt="2023-11-27T18:14:22.438" v="5170" actId="478"/>
          <ac:spMkLst>
            <pc:docMk/>
            <pc:sldMk cId="4062347060" sldId="260"/>
            <ac:spMk id="40" creationId="{80A1F506-4A29-1898-E102-0411E47A9AC4}"/>
          </ac:spMkLst>
        </pc:spChg>
        <pc:spChg chg="del">
          <ac:chgData name="Jaspreet Kalsi" userId="6f701f51b128fcbf" providerId="LiveId" clId="{EE705D2C-F7EB-6644-A447-CE069A303EEA}" dt="2023-11-27T18:14:31.218" v="5175" actId="478"/>
          <ac:spMkLst>
            <pc:docMk/>
            <pc:sldMk cId="4062347060" sldId="260"/>
            <ac:spMk id="48" creationId="{BFE2AD01-F623-551D-5D6D-6297DDB21B1E}"/>
          </ac:spMkLst>
        </pc:spChg>
        <pc:spChg chg="del">
          <ac:chgData name="Jaspreet Kalsi" userId="6f701f51b128fcbf" providerId="LiveId" clId="{EE705D2C-F7EB-6644-A447-CE069A303EEA}" dt="2023-11-27T18:14:29.637" v="5174" actId="478"/>
          <ac:spMkLst>
            <pc:docMk/>
            <pc:sldMk cId="4062347060" sldId="260"/>
            <ac:spMk id="49" creationId="{30A2499F-F3C6-7856-6E91-C84802F53D62}"/>
          </ac:spMkLst>
        </pc:spChg>
        <pc:spChg chg="del">
          <ac:chgData name="Jaspreet Kalsi" userId="6f701f51b128fcbf" providerId="LiveId" clId="{EE705D2C-F7EB-6644-A447-CE069A303EEA}" dt="2023-11-27T18:14:28.256" v="5173" actId="478"/>
          <ac:spMkLst>
            <pc:docMk/>
            <pc:sldMk cId="4062347060" sldId="260"/>
            <ac:spMk id="50" creationId="{3AC9780D-996A-699B-D5F1-4D6C54925702}"/>
          </ac:spMkLst>
        </pc:spChg>
        <pc:grpChg chg="del">
          <ac:chgData name="Jaspreet Kalsi" userId="6f701f51b128fcbf" providerId="LiveId" clId="{EE705D2C-F7EB-6644-A447-CE069A303EEA}" dt="2023-11-27T15:19:08.904" v="3039" actId="478"/>
          <ac:grpSpMkLst>
            <pc:docMk/>
            <pc:sldMk cId="4062347060" sldId="260"/>
            <ac:grpSpMk id="33" creationId="{BE48CE21-33C7-9B2E-DE76-C4BCAEB4E905}"/>
          </ac:grpSpMkLst>
        </pc:grpChg>
      </pc:sldChg>
      <pc:sldChg chg="addSp delSp modSp mod">
        <pc:chgData name="Jaspreet Kalsi" userId="6f701f51b128fcbf" providerId="LiveId" clId="{EE705D2C-F7EB-6644-A447-CE069A303EEA}" dt="2023-11-27T18:40:39.918" v="6036" actId="20577"/>
        <pc:sldMkLst>
          <pc:docMk/>
          <pc:sldMk cId="118694577" sldId="265"/>
        </pc:sldMkLst>
        <pc:spChg chg="add del mod">
          <ac:chgData name="Jaspreet Kalsi" userId="6f701f51b128fcbf" providerId="LiveId" clId="{EE705D2C-F7EB-6644-A447-CE069A303EEA}" dt="2023-11-27T18:21:39.191" v="5722" actId="478"/>
          <ac:spMkLst>
            <pc:docMk/>
            <pc:sldMk cId="118694577" sldId="265"/>
            <ac:spMk id="2" creationId="{CB529057-8E8F-C756-316D-3D36CCE9A37F}"/>
          </ac:spMkLst>
        </pc:spChg>
        <pc:spChg chg="add del mod">
          <ac:chgData name="Jaspreet Kalsi" userId="6f701f51b128fcbf" providerId="LiveId" clId="{EE705D2C-F7EB-6644-A447-CE069A303EEA}" dt="2023-11-27T18:21:39.191" v="5722" actId="478"/>
          <ac:spMkLst>
            <pc:docMk/>
            <pc:sldMk cId="118694577" sldId="265"/>
            <ac:spMk id="6" creationId="{C37D8155-ABD6-F7A4-7BD8-AE4C6523263F}"/>
          </ac:spMkLst>
        </pc:spChg>
        <pc:spChg chg="add del mod">
          <ac:chgData name="Jaspreet Kalsi" userId="6f701f51b128fcbf" providerId="LiveId" clId="{EE705D2C-F7EB-6644-A447-CE069A303EEA}" dt="2023-11-26T14:02:08.487" v="512" actId="478"/>
          <ac:spMkLst>
            <pc:docMk/>
            <pc:sldMk cId="118694577" sldId="265"/>
            <ac:spMk id="7" creationId="{ECD919DF-AB43-06AC-5B77-29747EF6FF3D}"/>
          </ac:spMkLst>
        </pc:spChg>
        <pc:spChg chg="mod">
          <ac:chgData name="Jaspreet Kalsi" userId="6f701f51b128fcbf" providerId="LiveId" clId="{EE705D2C-F7EB-6644-A447-CE069A303EEA}" dt="2023-11-27T14:48:46.920" v="1249" actId="20577"/>
          <ac:spMkLst>
            <pc:docMk/>
            <pc:sldMk cId="118694577" sldId="265"/>
            <ac:spMk id="10" creationId="{19011328-BC19-9759-C4A2-A876E6C72E81}"/>
          </ac:spMkLst>
        </pc:spChg>
        <pc:spChg chg="del">
          <ac:chgData name="Jaspreet Kalsi" userId="6f701f51b128fcbf" providerId="LiveId" clId="{EE705D2C-F7EB-6644-A447-CE069A303EEA}" dt="2023-11-27T18:21:39.191" v="5722" actId="478"/>
          <ac:spMkLst>
            <pc:docMk/>
            <pc:sldMk cId="118694577" sldId="265"/>
            <ac:spMk id="18" creationId="{A66037FB-ECC6-A931-2CFC-20FD25D6E695}"/>
          </ac:spMkLst>
        </pc:spChg>
        <pc:spChg chg="mod">
          <ac:chgData name="Jaspreet Kalsi" userId="6f701f51b128fcbf" providerId="LiveId" clId="{EE705D2C-F7EB-6644-A447-CE069A303EEA}" dt="2023-11-26T15:07:33.056" v="1227" actId="1076"/>
          <ac:spMkLst>
            <pc:docMk/>
            <pc:sldMk cId="118694577" sldId="265"/>
            <ac:spMk id="20" creationId="{ABC3BD41-718C-AB2D-2DD8-FAB68B0EDD99}"/>
          </ac:spMkLst>
        </pc:spChg>
        <pc:spChg chg="add del mod">
          <ac:chgData name="Jaspreet Kalsi" userId="6f701f51b128fcbf" providerId="LiveId" clId="{EE705D2C-F7EB-6644-A447-CE069A303EEA}" dt="2023-11-27T18:21:39.191" v="5722" actId="478"/>
          <ac:spMkLst>
            <pc:docMk/>
            <pc:sldMk cId="118694577" sldId="265"/>
            <ac:spMk id="21" creationId="{ED46B618-2CF9-7941-4EA2-0BAE302EE4DF}"/>
          </ac:spMkLst>
        </pc:spChg>
        <pc:spChg chg="add del mod">
          <ac:chgData name="Jaspreet Kalsi" userId="6f701f51b128fcbf" providerId="LiveId" clId="{EE705D2C-F7EB-6644-A447-CE069A303EEA}" dt="2023-11-27T18:40:13.539" v="5998" actId="478"/>
          <ac:spMkLst>
            <pc:docMk/>
            <pc:sldMk cId="118694577" sldId="265"/>
            <ac:spMk id="23" creationId="{A58C3F7B-D4E4-786A-61B5-7669D39859E4}"/>
          </ac:spMkLst>
        </pc:spChg>
        <pc:spChg chg="del">
          <ac:chgData name="Jaspreet Kalsi" userId="6f701f51b128fcbf" providerId="LiveId" clId="{EE705D2C-F7EB-6644-A447-CE069A303EEA}" dt="2023-11-27T18:21:39.191" v="5722" actId="478"/>
          <ac:spMkLst>
            <pc:docMk/>
            <pc:sldMk cId="118694577" sldId="265"/>
            <ac:spMk id="26" creationId="{5149923D-7CD8-C208-4B02-AF373B7CF240}"/>
          </ac:spMkLst>
        </pc:spChg>
        <pc:spChg chg="add del mod">
          <ac:chgData name="Jaspreet Kalsi" userId="6f701f51b128fcbf" providerId="LiveId" clId="{EE705D2C-F7EB-6644-A447-CE069A303EEA}" dt="2023-11-26T15:07:09.852" v="1222"/>
          <ac:spMkLst>
            <pc:docMk/>
            <pc:sldMk cId="118694577" sldId="265"/>
            <ac:spMk id="47" creationId="{917889E3-9D93-B684-6110-21F01BEC8B79}"/>
          </ac:spMkLst>
        </pc:spChg>
        <pc:spChg chg="add del mod">
          <ac:chgData name="Jaspreet Kalsi" userId="6f701f51b128fcbf" providerId="LiveId" clId="{EE705D2C-F7EB-6644-A447-CE069A303EEA}" dt="2023-11-26T15:07:28.997" v="1225"/>
          <ac:spMkLst>
            <pc:docMk/>
            <pc:sldMk cId="118694577" sldId="265"/>
            <ac:spMk id="48" creationId="{36A69C7A-E2B6-677F-D2C6-F2A7493CA348}"/>
          </ac:spMkLst>
        </pc:spChg>
        <pc:spChg chg="add mod">
          <ac:chgData name="Jaspreet Kalsi" userId="6f701f51b128fcbf" providerId="LiveId" clId="{EE705D2C-F7EB-6644-A447-CE069A303EEA}" dt="2023-11-27T18:21:40.701" v="5723"/>
          <ac:spMkLst>
            <pc:docMk/>
            <pc:sldMk cId="118694577" sldId="265"/>
            <ac:spMk id="49" creationId="{82685E9E-7DAB-739A-05FC-D2558CAA73B3}"/>
          </ac:spMkLst>
        </pc:spChg>
        <pc:spChg chg="add mod">
          <ac:chgData name="Jaspreet Kalsi" userId="6f701f51b128fcbf" providerId="LiveId" clId="{EE705D2C-F7EB-6644-A447-CE069A303EEA}" dt="2023-11-27T18:21:40.701" v="5723"/>
          <ac:spMkLst>
            <pc:docMk/>
            <pc:sldMk cId="118694577" sldId="265"/>
            <ac:spMk id="50" creationId="{31B15A01-5E50-4DD9-F5AB-ECB0EE34D0DA}"/>
          </ac:spMkLst>
        </pc:spChg>
        <pc:spChg chg="add del mod">
          <ac:chgData name="Jaspreet Kalsi" userId="6f701f51b128fcbf" providerId="LiveId" clId="{EE705D2C-F7EB-6644-A447-CE069A303EEA}" dt="2023-11-27T18:21:39.191" v="5722" actId="478"/>
          <ac:spMkLst>
            <pc:docMk/>
            <pc:sldMk cId="118694577" sldId="265"/>
            <ac:spMk id="51" creationId="{BABF978A-9132-DD70-EECE-614EB7A93DF3}"/>
          </ac:spMkLst>
        </pc:spChg>
        <pc:spChg chg="add mod">
          <ac:chgData name="Jaspreet Kalsi" userId="6f701f51b128fcbf" providerId="LiveId" clId="{EE705D2C-F7EB-6644-A447-CE069A303EEA}" dt="2023-11-27T18:21:40.701" v="5723"/>
          <ac:spMkLst>
            <pc:docMk/>
            <pc:sldMk cId="118694577" sldId="265"/>
            <ac:spMk id="63" creationId="{2775613F-9E59-85BC-9451-F53059D71443}"/>
          </ac:spMkLst>
        </pc:spChg>
        <pc:spChg chg="add mod">
          <ac:chgData name="Jaspreet Kalsi" userId="6f701f51b128fcbf" providerId="LiveId" clId="{EE705D2C-F7EB-6644-A447-CE069A303EEA}" dt="2023-11-27T18:21:40.701" v="5723"/>
          <ac:spMkLst>
            <pc:docMk/>
            <pc:sldMk cId="118694577" sldId="265"/>
            <ac:spMk id="1029" creationId="{1E12E53E-6470-C93B-4842-A7A89C36E3A1}"/>
          </ac:spMkLst>
        </pc:spChg>
        <pc:spChg chg="mod">
          <ac:chgData name="Jaspreet Kalsi" userId="6f701f51b128fcbf" providerId="LiveId" clId="{EE705D2C-F7EB-6644-A447-CE069A303EEA}" dt="2023-11-26T14:15:18.146" v="762" actId="1035"/>
          <ac:spMkLst>
            <pc:docMk/>
            <pc:sldMk cId="118694577" sldId="265"/>
            <ac:spMk id="1030" creationId="{2BABC7F5-82EA-5CB7-3D71-C4FE0E73594E}"/>
          </ac:spMkLst>
        </pc:spChg>
        <pc:spChg chg="add mod">
          <ac:chgData name="Jaspreet Kalsi" userId="6f701f51b128fcbf" providerId="LiveId" clId="{EE705D2C-F7EB-6644-A447-CE069A303EEA}" dt="2023-11-27T18:21:40.701" v="5723"/>
          <ac:spMkLst>
            <pc:docMk/>
            <pc:sldMk cId="118694577" sldId="265"/>
            <ac:spMk id="1031" creationId="{1DA62EE9-D2EA-DFD6-57A6-A06C4001AC1A}"/>
          </ac:spMkLst>
        </pc:spChg>
        <pc:spChg chg="add mod">
          <ac:chgData name="Jaspreet Kalsi" userId="6f701f51b128fcbf" providerId="LiveId" clId="{EE705D2C-F7EB-6644-A447-CE069A303EEA}" dt="2023-11-27T18:21:40.701" v="5723"/>
          <ac:spMkLst>
            <pc:docMk/>
            <pc:sldMk cId="118694577" sldId="265"/>
            <ac:spMk id="1032" creationId="{372D6EDA-70E5-8B11-F231-01F054853E6D}"/>
          </ac:spMkLst>
        </pc:spChg>
        <pc:spChg chg="mod">
          <ac:chgData name="Jaspreet Kalsi" userId="6f701f51b128fcbf" providerId="LiveId" clId="{EE705D2C-F7EB-6644-A447-CE069A303EEA}" dt="2023-11-26T14:15:18.146" v="762" actId="1035"/>
          <ac:spMkLst>
            <pc:docMk/>
            <pc:sldMk cId="118694577" sldId="265"/>
            <ac:spMk id="1056" creationId="{10110A8E-BE6E-620F-27B7-D263413D67BD}"/>
          </ac:spMkLst>
        </pc:spChg>
        <pc:spChg chg="add del mod">
          <ac:chgData name="Jaspreet Kalsi" userId="6f701f51b128fcbf" providerId="LiveId" clId="{EE705D2C-F7EB-6644-A447-CE069A303EEA}" dt="2023-11-27T18:40:39.918" v="6036" actId="20577"/>
          <ac:spMkLst>
            <pc:docMk/>
            <pc:sldMk cId="118694577" sldId="265"/>
            <ac:spMk id="1059" creationId="{D465C0CE-8EEF-4BB6-F57B-E590774452C4}"/>
          </ac:spMkLst>
        </pc:spChg>
        <pc:picChg chg="add mod">
          <ac:chgData name="Jaspreet Kalsi" userId="6f701f51b128fcbf" providerId="LiveId" clId="{EE705D2C-F7EB-6644-A447-CE069A303EEA}" dt="2023-11-26T14:16:05.651" v="804" actId="1076"/>
          <ac:picMkLst>
            <pc:docMk/>
            <pc:sldMk cId="118694577" sldId="265"/>
            <ac:picMk id="29" creationId="{63256927-0424-26BB-4929-B804F65FDE9D}"/>
          </ac:picMkLst>
        </pc:picChg>
        <pc:picChg chg="add del mod">
          <ac:chgData name="Jaspreet Kalsi" userId="6f701f51b128fcbf" providerId="LiveId" clId="{EE705D2C-F7EB-6644-A447-CE069A303EEA}" dt="2023-11-27T14:49:48.670" v="1292" actId="21"/>
          <ac:picMkLst>
            <pc:docMk/>
            <pc:sldMk cId="118694577" sldId="265"/>
            <ac:picMk id="31" creationId="{E50DF7A9-07BB-B80A-E00A-0B86C8DE41AA}"/>
          </ac:picMkLst>
        </pc:picChg>
        <pc:picChg chg="mod">
          <ac:chgData name="Jaspreet Kalsi" userId="6f701f51b128fcbf" providerId="LiveId" clId="{EE705D2C-F7EB-6644-A447-CE069A303EEA}" dt="2023-11-26T14:15:31.980" v="767" actId="1076"/>
          <ac:picMkLst>
            <pc:docMk/>
            <pc:sldMk cId="118694577" sldId="265"/>
            <ac:picMk id="1058" creationId="{FC1C32FA-D399-2D03-99DB-F611EFA06B40}"/>
          </ac:picMkLst>
        </pc:picChg>
        <pc:cxnChg chg="mod">
          <ac:chgData name="Jaspreet Kalsi" userId="6f701f51b128fcbf" providerId="LiveId" clId="{EE705D2C-F7EB-6644-A447-CE069A303EEA}" dt="2023-11-26T14:15:49.185" v="798" actId="1035"/>
          <ac:cxnSpMkLst>
            <pc:docMk/>
            <pc:sldMk cId="118694577" sldId="265"/>
            <ac:cxnSpMk id="1060" creationId="{26B8BEE9-4D8E-08F6-075F-DD0BF9A12FF4}"/>
          </ac:cxnSpMkLst>
        </pc:cxnChg>
      </pc:sldChg>
      <pc:sldChg chg="addSp modSp mod">
        <pc:chgData name="Jaspreet Kalsi" userId="6f701f51b128fcbf" providerId="LiveId" clId="{EE705D2C-F7EB-6644-A447-CE069A303EEA}" dt="2023-11-27T18:44:05.888" v="6113" actId="113"/>
        <pc:sldMkLst>
          <pc:docMk/>
          <pc:sldMk cId="3582850861" sldId="266"/>
        </pc:sldMkLst>
        <pc:spChg chg="add mod">
          <ac:chgData name="Jaspreet Kalsi" userId="6f701f51b128fcbf" providerId="LiveId" clId="{EE705D2C-F7EB-6644-A447-CE069A303EEA}" dt="2023-11-27T18:44:05.888" v="6113" actId="113"/>
          <ac:spMkLst>
            <pc:docMk/>
            <pc:sldMk cId="3582850861" sldId="266"/>
            <ac:spMk id="2" creationId="{E4E94EE4-9211-C71E-A171-74653F286FF4}"/>
          </ac:spMkLst>
        </pc:spChg>
      </pc:sldChg>
      <pc:sldChg chg="addSp delSp modSp mod setBg">
        <pc:chgData name="Jaspreet Kalsi" userId="6f701f51b128fcbf" providerId="LiveId" clId="{EE705D2C-F7EB-6644-A447-CE069A303EEA}" dt="2023-11-27T18:39:28.906" v="5993" actId="14100"/>
        <pc:sldMkLst>
          <pc:docMk/>
          <pc:sldMk cId="1380648102" sldId="273"/>
        </pc:sldMkLst>
        <pc:spChg chg="mod">
          <ac:chgData name="Jaspreet Kalsi" userId="6f701f51b128fcbf" providerId="LiveId" clId="{EE705D2C-F7EB-6644-A447-CE069A303EEA}" dt="2023-11-27T18:39:28.906" v="5993" actId="14100"/>
          <ac:spMkLst>
            <pc:docMk/>
            <pc:sldMk cId="1380648102" sldId="273"/>
            <ac:spMk id="3" creationId="{755894CC-E93E-27D4-E910-33EA2D3734AF}"/>
          </ac:spMkLst>
        </pc:spChg>
        <pc:spChg chg="add del mod">
          <ac:chgData name="Jaspreet Kalsi" userId="6f701f51b128fcbf" providerId="LiveId" clId="{EE705D2C-F7EB-6644-A447-CE069A303EEA}" dt="2023-11-26T13:57:03.757" v="404"/>
          <ac:spMkLst>
            <pc:docMk/>
            <pc:sldMk cId="1380648102" sldId="273"/>
            <ac:spMk id="5" creationId="{D035D556-3C8D-C366-246A-142C26B7C433}"/>
          </ac:spMkLst>
        </pc:spChg>
        <pc:spChg chg="mod">
          <ac:chgData name="Jaspreet Kalsi" userId="6f701f51b128fcbf" providerId="LiveId" clId="{EE705D2C-F7EB-6644-A447-CE069A303EEA}" dt="2023-11-27T18:39:08.827" v="5990" actId="207"/>
          <ac:spMkLst>
            <pc:docMk/>
            <pc:sldMk cId="1380648102" sldId="273"/>
            <ac:spMk id="25" creationId="{814E8360-63F3-4F18-817E-6FBC4551EF0D}"/>
          </ac:spMkLst>
        </pc:spChg>
        <pc:spChg chg="mod">
          <ac:chgData name="Jaspreet Kalsi" userId="6f701f51b128fcbf" providerId="LiveId" clId="{EE705D2C-F7EB-6644-A447-CE069A303EEA}" dt="2023-11-27T18:38:49.783" v="5988" actId="207"/>
          <ac:spMkLst>
            <pc:docMk/>
            <pc:sldMk cId="1380648102" sldId="273"/>
            <ac:spMk id="122" creationId="{26519E81-C48F-4DC1-8447-5AA3137BE5EE}"/>
          </ac:spMkLst>
        </pc:spChg>
      </pc:sldChg>
      <pc:sldChg chg="modSp del mod">
        <pc:chgData name="Jaspreet Kalsi" userId="6f701f51b128fcbf" providerId="LiveId" clId="{EE705D2C-F7EB-6644-A447-CE069A303EEA}" dt="2023-11-26T14:29:31.913" v="981" actId="2696"/>
        <pc:sldMkLst>
          <pc:docMk/>
          <pc:sldMk cId="1544985581" sldId="285"/>
        </pc:sldMkLst>
        <pc:spChg chg="mod">
          <ac:chgData name="Jaspreet Kalsi" userId="6f701f51b128fcbf" providerId="LiveId" clId="{EE705D2C-F7EB-6644-A447-CE069A303EEA}" dt="2023-11-26T14:25:22.555" v="971" actId="790"/>
          <ac:spMkLst>
            <pc:docMk/>
            <pc:sldMk cId="1544985581" sldId="285"/>
            <ac:spMk id="3" creationId="{9E57C24D-F566-E3DD-A304-16BCC8A04BF7}"/>
          </ac:spMkLst>
        </pc:spChg>
      </pc:sldChg>
      <pc:sldChg chg="del">
        <pc:chgData name="Jaspreet Kalsi" userId="6f701f51b128fcbf" providerId="LiveId" clId="{EE705D2C-F7EB-6644-A447-CE069A303EEA}" dt="2023-11-27T15:05:19.957" v="1990" actId="2696"/>
        <pc:sldMkLst>
          <pc:docMk/>
          <pc:sldMk cId="2471156814" sldId="287"/>
        </pc:sldMkLst>
      </pc:sldChg>
      <pc:sldChg chg="new del">
        <pc:chgData name="Jaspreet Kalsi" userId="6f701f51b128fcbf" providerId="LiveId" clId="{EE705D2C-F7EB-6644-A447-CE069A303EEA}" dt="2023-11-26T14:28:18.366" v="974" actId="2696"/>
        <pc:sldMkLst>
          <pc:docMk/>
          <pc:sldMk cId="3526846153" sldId="288"/>
        </pc:sldMkLst>
      </pc:sldChg>
      <pc:sldChg chg="addSp delSp modSp add mod ord">
        <pc:chgData name="Jaspreet Kalsi" userId="6f701f51b128fcbf" providerId="LiveId" clId="{EE705D2C-F7EB-6644-A447-CE069A303EEA}" dt="2023-11-27T18:23:08.293" v="5729"/>
        <pc:sldMkLst>
          <pc:docMk/>
          <pc:sldMk cId="3619731700" sldId="288"/>
        </pc:sldMkLst>
        <pc:spChg chg="del">
          <ac:chgData name="Jaspreet Kalsi" userId="6f701f51b128fcbf" providerId="LiveId" clId="{EE705D2C-F7EB-6644-A447-CE069A303EEA}" dt="2023-11-27T18:23:04.286" v="5728" actId="478"/>
          <ac:spMkLst>
            <pc:docMk/>
            <pc:sldMk cId="3619731700" sldId="288"/>
            <ac:spMk id="3" creationId="{100D3526-C855-D54C-A854-118A3BDDF39A}"/>
          </ac:spMkLst>
        </pc:spChg>
        <pc:spChg chg="del">
          <ac:chgData name="Jaspreet Kalsi" userId="6f701f51b128fcbf" providerId="LiveId" clId="{EE705D2C-F7EB-6644-A447-CE069A303EEA}" dt="2023-11-27T18:23:04.286" v="5728" actId="478"/>
          <ac:spMkLst>
            <pc:docMk/>
            <pc:sldMk cId="3619731700" sldId="288"/>
            <ac:spMk id="6" creationId="{C37D8155-ABD6-F7A4-7BD8-AE4C6523263F}"/>
          </ac:spMkLst>
        </pc:spChg>
        <pc:spChg chg="add del mod">
          <ac:chgData name="Jaspreet Kalsi" userId="6f701f51b128fcbf" providerId="LiveId" clId="{EE705D2C-F7EB-6644-A447-CE069A303EEA}" dt="2023-11-26T14:30:09.970" v="1004"/>
          <ac:spMkLst>
            <pc:docMk/>
            <pc:sldMk cId="3619731700" sldId="288"/>
            <ac:spMk id="7" creationId="{C25A65FB-0C3B-DA1B-B6C4-0EB06AF12A73}"/>
          </ac:spMkLst>
        </pc:spChg>
        <pc:spChg chg="add del mod">
          <ac:chgData name="Jaspreet Kalsi" userId="6f701f51b128fcbf" providerId="LiveId" clId="{EE705D2C-F7EB-6644-A447-CE069A303EEA}" dt="2023-11-27T15:00:37.286" v="1853" actId="478"/>
          <ac:spMkLst>
            <pc:docMk/>
            <pc:sldMk cId="3619731700" sldId="288"/>
            <ac:spMk id="10" creationId="{D8D94259-CBF5-9528-51CA-FF9232642063}"/>
          </ac:spMkLst>
        </pc:spChg>
        <pc:spChg chg="mod">
          <ac:chgData name="Jaspreet Kalsi" userId="6f701f51b128fcbf" providerId="LiveId" clId="{EE705D2C-F7EB-6644-A447-CE069A303EEA}" dt="2023-11-27T15:21:05.050" v="3315" actId="20577"/>
          <ac:spMkLst>
            <pc:docMk/>
            <pc:sldMk cId="3619731700" sldId="288"/>
            <ac:spMk id="18" creationId="{355AC3A1-175C-0DC3-DBAF-F626A9F3780A}"/>
          </ac:spMkLst>
        </pc:spChg>
        <pc:spChg chg="del">
          <ac:chgData name="Jaspreet Kalsi" userId="6f701f51b128fcbf" providerId="LiveId" clId="{EE705D2C-F7EB-6644-A447-CE069A303EEA}" dt="2023-11-27T18:23:04.286" v="5728" actId="478"/>
          <ac:spMkLst>
            <pc:docMk/>
            <pc:sldMk cId="3619731700" sldId="288"/>
            <ac:spMk id="21" creationId="{ED46B618-2CF9-7941-4EA2-0BAE302EE4DF}"/>
          </ac:spMkLst>
        </pc:spChg>
        <pc:spChg chg="del">
          <ac:chgData name="Jaspreet Kalsi" userId="6f701f51b128fcbf" providerId="LiveId" clId="{EE705D2C-F7EB-6644-A447-CE069A303EEA}" dt="2023-11-27T18:23:04.286" v="5728" actId="478"/>
          <ac:spMkLst>
            <pc:docMk/>
            <pc:sldMk cId="3619731700" sldId="288"/>
            <ac:spMk id="23" creationId="{75360DE8-31EE-FAA3-E777-47004567BD15}"/>
          </ac:spMkLst>
        </pc:spChg>
        <pc:spChg chg="del">
          <ac:chgData name="Jaspreet Kalsi" userId="6f701f51b128fcbf" providerId="LiveId" clId="{EE705D2C-F7EB-6644-A447-CE069A303EEA}" dt="2023-11-27T18:23:04.286" v="5728" actId="478"/>
          <ac:spMkLst>
            <pc:docMk/>
            <pc:sldMk cId="3619731700" sldId="288"/>
            <ac:spMk id="24" creationId="{12F45DBD-39B5-8EEA-4A17-0E22C21E483A}"/>
          </ac:spMkLst>
        </pc:spChg>
        <pc:spChg chg="del">
          <ac:chgData name="Jaspreet Kalsi" userId="6f701f51b128fcbf" providerId="LiveId" clId="{EE705D2C-F7EB-6644-A447-CE069A303EEA}" dt="2023-11-27T18:23:04.286" v="5728" actId="478"/>
          <ac:spMkLst>
            <pc:docMk/>
            <pc:sldMk cId="3619731700" sldId="288"/>
            <ac:spMk id="25" creationId="{B3D8B386-F8F1-A598-25C0-8F33F16B23D7}"/>
          </ac:spMkLst>
        </pc:spChg>
        <pc:spChg chg="add del">
          <ac:chgData name="Jaspreet Kalsi" userId="6f701f51b128fcbf" providerId="LiveId" clId="{EE705D2C-F7EB-6644-A447-CE069A303EEA}" dt="2023-11-27T15:00:44.799" v="1855" actId="22"/>
          <ac:spMkLst>
            <pc:docMk/>
            <pc:sldMk cId="3619731700" sldId="288"/>
            <ac:spMk id="29" creationId="{0D49D1F8-8FBD-93F0-B4D6-D61A2134578A}"/>
          </ac:spMkLst>
        </pc:spChg>
        <pc:spChg chg="add del">
          <ac:chgData name="Jaspreet Kalsi" userId="6f701f51b128fcbf" providerId="LiveId" clId="{EE705D2C-F7EB-6644-A447-CE069A303EEA}" dt="2023-11-27T15:01:01.198" v="1857"/>
          <ac:spMkLst>
            <pc:docMk/>
            <pc:sldMk cId="3619731700" sldId="288"/>
            <ac:spMk id="30" creationId="{D1D857C7-D156-9308-5D16-3C0546B5CA48}"/>
          </ac:spMkLst>
        </pc:spChg>
        <pc:spChg chg="mod">
          <ac:chgData name="Jaspreet Kalsi" userId="6f701f51b128fcbf" providerId="LiveId" clId="{EE705D2C-F7EB-6644-A447-CE069A303EEA}" dt="2023-11-27T15:15:54.288" v="2890" actId="1035"/>
          <ac:spMkLst>
            <pc:docMk/>
            <pc:sldMk cId="3619731700" sldId="288"/>
            <ac:spMk id="41" creationId="{8D40B542-B96D-DDA7-C265-DF105A2A5899}"/>
          </ac:spMkLst>
        </pc:spChg>
        <pc:spChg chg="mod">
          <ac:chgData name="Jaspreet Kalsi" userId="6f701f51b128fcbf" providerId="LiveId" clId="{EE705D2C-F7EB-6644-A447-CE069A303EEA}" dt="2023-11-27T15:15:31.628" v="2707" actId="1037"/>
          <ac:spMkLst>
            <pc:docMk/>
            <pc:sldMk cId="3619731700" sldId="288"/>
            <ac:spMk id="46" creationId="{994A00AD-1437-DA57-D8B0-9A644A8EEFB1}"/>
          </ac:spMkLst>
        </pc:spChg>
        <pc:spChg chg="mod">
          <ac:chgData name="Jaspreet Kalsi" userId="6f701f51b128fcbf" providerId="LiveId" clId="{EE705D2C-F7EB-6644-A447-CE069A303EEA}" dt="2023-11-27T15:23:37.741" v="3495" actId="20577"/>
          <ac:spMkLst>
            <pc:docMk/>
            <pc:sldMk cId="3619731700" sldId="288"/>
            <ac:spMk id="47" creationId="{0B525E28-89EF-9243-1EC0-512CEF3E0CDA}"/>
          </ac:spMkLst>
        </pc:spChg>
        <pc:spChg chg="mod">
          <ac:chgData name="Jaspreet Kalsi" userId="6f701f51b128fcbf" providerId="LiveId" clId="{EE705D2C-F7EB-6644-A447-CE069A303EEA}" dt="2023-11-27T15:18:07.459" v="3033"/>
          <ac:spMkLst>
            <pc:docMk/>
            <pc:sldMk cId="3619731700" sldId="288"/>
            <ac:spMk id="55" creationId="{7F5EC459-7126-7FDD-7F36-ECC8080C620B}"/>
          </ac:spMkLst>
        </pc:spChg>
        <pc:spChg chg="mod">
          <ac:chgData name="Jaspreet Kalsi" userId="6f701f51b128fcbf" providerId="LiveId" clId="{EE705D2C-F7EB-6644-A447-CE069A303EEA}" dt="2023-11-27T15:18:07.459" v="3033"/>
          <ac:spMkLst>
            <pc:docMk/>
            <pc:sldMk cId="3619731700" sldId="288"/>
            <ac:spMk id="56" creationId="{2219247A-803D-8573-2F37-38BA2DC1E283}"/>
          </ac:spMkLst>
        </pc:spChg>
        <pc:spChg chg="mod">
          <ac:chgData name="Jaspreet Kalsi" userId="6f701f51b128fcbf" providerId="LiveId" clId="{EE705D2C-F7EB-6644-A447-CE069A303EEA}" dt="2023-11-27T15:18:07.459" v="3033"/>
          <ac:spMkLst>
            <pc:docMk/>
            <pc:sldMk cId="3619731700" sldId="288"/>
            <ac:spMk id="57" creationId="{AFE7DF52-04E9-0787-9997-8536894BBEF9}"/>
          </ac:spMkLst>
        </pc:spChg>
        <pc:spChg chg="del mod topLvl">
          <ac:chgData name="Jaspreet Kalsi" userId="6f701f51b128fcbf" providerId="LiveId" clId="{EE705D2C-F7EB-6644-A447-CE069A303EEA}" dt="2023-11-27T15:00:30.169" v="1849" actId="478"/>
          <ac:spMkLst>
            <pc:docMk/>
            <pc:sldMk cId="3619731700" sldId="288"/>
            <ac:spMk id="59" creationId="{0084DDBB-2CC3-5D6C-15EE-729122A3D525}"/>
          </ac:spMkLst>
        </pc:spChg>
        <pc:spChg chg="add del mod">
          <ac:chgData name="Jaspreet Kalsi" userId="6f701f51b128fcbf" providerId="LiveId" clId="{EE705D2C-F7EB-6644-A447-CE069A303EEA}" dt="2023-11-27T15:18:27.783" v="3035" actId="767"/>
          <ac:spMkLst>
            <pc:docMk/>
            <pc:sldMk cId="3619731700" sldId="288"/>
            <ac:spMk id="60" creationId="{1E13878E-1F37-5B0B-26F6-2B2BDD182B39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25" creationId="{BD507C67-7047-A3FA-6544-EF8DBF1423AB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27" creationId="{39186CEC-CDE5-DFCF-3540-76CCC5CC1246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28" creationId="{D6E4EEF8-091F-CFFF-8666-144899596CBD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29" creationId="{342D7F85-3CC7-846B-D5A2-724E0CB879D0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30" creationId="{F401939B-75BC-1B59-5893-0368FDFAAAD2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31" creationId="{67F8097D-37BF-02E0-3F22-707D4DDA3FB8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33" creationId="{03DD873E-E297-00E8-D69D-A2BB22417289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34" creationId="{86DFB5C2-499A-6882-3930-8D3DEA6FD07C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35" creationId="{68A170AF-1D1A-7EB1-6744-17F219722229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44" creationId="{E386A2D4-BEA6-BDF6-756D-EFF6612EA3E8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45" creationId="{FF767301-CF39-88C1-7219-1800AD95222C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46" creationId="{6143A6C9-932B-A7EE-9F38-EC300914046F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55" creationId="{B675E8F2-4BC8-7622-F302-0A79B9A71163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56" creationId="{478DD207-21E4-A7E7-90F3-704955E6F326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58" creationId="{568E083F-8A40-CD5B-8D56-D869FDB42071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59" creationId="{EBA90BDA-E797-0059-A0D0-F35992C990CB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0" creationId="{32AD208F-072A-5358-CA79-39E401CE10BB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1" creationId="{4971C1DD-295D-16E4-175E-C6F3ED0AD0D5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2" creationId="{E9C9879B-89E8-10E4-9B38-0844DA67678A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3" creationId="{76BFF326-DD19-F602-23E0-C1942E0421EE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4" creationId="{BF6123A4-E1E2-135A-03B0-9F06373A5E0A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5" creationId="{EB156C22-F81A-D79A-789D-FBD4FF07C67F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6" creationId="{15745BB5-E894-3C62-D03A-A74A236EF6A1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7" creationId="{1D0B586E-4B4B-4D79-153A-C971F7B301C8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8" creationId="{1997063C-3417-FA6B-FE1C-C5B3276A5498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69" creationId="{BF4B70DE-61C6-E911-5FB4-D6CCFEEE27EB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0" creationId="{35438660-4460-8D4B-2619-DEC5B47AF443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2" creationId="{6BCF3545-F13D-80B5-155B-68094F0028C2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3" creationId="{AFFD69E8-1EC4-3FCE-E68A-7F954F17511D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4" creationId="{39918B90-DCD5-4A69-A461-E4F4E148A496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5" creationId="{E996C4BE-DD03-5EB9-FE46-81C2A809427E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6" creationId="{A8F4D640-1851-99AD-E186-2781ACAF71D0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7" creationId="{8AFA6AF2-B6C2-0B46-C17B-508863BE6FE2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8" creationId="{33E2D241-E07F-F482-E921-30817608BC9B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79" creationId="{0D3A5A76-3CC5-7843-0D70-7C00A9C5B91F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80" creationId="{21924236-1434-D517-82DD-FCD8D8C910DD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81" creationId="{EE9B9211-E7C4-2DF5-C52C-35986060CDFF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82" creationId="{0EFA3ED3-4B66-F36C-081C-4D06444712A5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83" creationId="{E1C285C3-D84F-2351-3846-0B1F7299DEE2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84" creationId="{7B83374C-C99C-F710-D9EC-987C5D0FB517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85" creationId="{429063FF-7D9F-7CD4-2705-8E71CC8657AD}"/>
          </ac:spMkLst>
        </pc:spChg>
        <pc:spChg chg="mod">
          <ac:chgData name="Jaspreet Kalsi" userId="6f701f51b128fcbf" providerId="LiveId" clId="{EE705D2C-F7EB-6644-A447-CE069A303EEA}" dt="2023-11-27T15:18:41.346" v="3036"/>
          <ac:spMkLst>
            <pc:docMk/>
            <pc:sldMk cId="3619731700" sldId="288"/>
            <ac:spMk id="1086" creationId="{97A02DC5-E53C-E866-654D-E187E2C062A1}"/>
          </ac:spMkLst>
        </pc:spChg>
        <pc:spChg chg="add del mod">
          <ac:chgData name="Jaspreet Kalsi" userId="6f701f51b128fcbf" providerId="LiveId" clId="{EE705D2C-F7EB-6644-A447-CE069A303EEA}" dt="2023-11-27T15:22:44.361" v="3434"/>
          <ac:spMkLst>
            <pc:docMk/>
            <pc:sldMk cId="3619731700" sldId="288"/>
            <ac:spMk id="1091" creationId="{C6413B49-296A-36D1-9775-44872D374B57}"/>
          </ac:spMkLst>
        </pc:spChg>
        <pc:spChg chg="add mod">
          <ac:chgData name="Jaspreet Kalsi" userId="6f701f51b128fcbf" providerId="LiveId" clId="{EE705D2C-F7EB-6644-A447-CE069A303EEA}" dt="2023-11-27T17:59:00.036" v="4013" actId="20577"/>
          <ac:spMkLst>
            <pc:docMk/>
            <pc:sldMk cId="3619731700" sldId="288"/>
            <ac:spMk id="1092" creationId="{C102ABDD-7958-8AE4-DDEA-E53EC97E91A0}"/>
          </ac:spMkLst>
        </pc:spChg>
        <pc:spChg chg="add del mod">
          <ac:chgData name="Jaspreet Kalsi" userId="6f701f51b128fcbf" providerId="LiveId" clId="{EE705D2C-F7EB-6644-A447-CE069A303EEA}" dt="2023-11-27T18:22:52.730" v="5727" actId="478"/>
          <ac:spMkLst>
            <pc:docMk/>
            <pc:sldMk cId="3619731700" sldId="288"/>
            <ac:spMk id="1093" creationId="{9A138E74-938A-7E30-BA1D-A0467F17AE0A}"/>
          </ac:spMkLst>
        </pc:spChg>
        <pc:spChg chg="add del mod">
          <ac:chgData name="Jaspreet Kalsi" userId="6f701f51b128fcbf" providerId="LiveId" clId="{EE705D2C-F7EB-6644-A447-CE069A303EEA}" dt="2023-11-27T18:22:52.730" v="5727" actId="478"/>
          <ac:spMkLst>
            <pc:docMk/>
            <pc:sldMk cId="3619731700" sldId="288"/>
            <ac:spMk id="1094" creationId="{C748153C-7360-A2CC-C933-F978CE621A6B}"/>
          </ac:spMkLst>
        </pc:spChg>
        <pc:spChg chg="add del mod">
          <ac:chgData name="Jaspreet Kalsi" userId="6f701f51b128fcbf" providerId="LiveId" clId="{EE705D2C-F7EB-6644-A447-CE069A303EEA}" dt="2023-11-27T18:22:52.730" v="5727" actId="478"/>
          <ac:spMkLst>
            <pc:docMk/>
            <pc:sldMk cId="3619731700" sldId="288"/>
            <ac:spMk id="1095" creationId="{DFC943F1-928A-265C-CE50-19E72B386A09}"/>
          </ac:spMkLst>
        </pc:spChg>
        <pc:spChg chg="add del mod">
          <ac:chgData name="Jaspreet Kalsi" userId="6f701f51b128fcbf" providerId="LiveId" clId="{EE705D2C-F7EB-6644-A447-CE069A303EEA}" dt="2023-11-27T18:22:52.730" v="5727" actId="478"/>
          <ac:spMkLst>
            <pc:docMk/>
            <pc:sldMk cId="3619731700" sldId="288"/>
            <ac:spMk id="1096" creationId="{3BF1321D-159C-8B1B-E12B-966255FCC493}"/>
          </ac:spMkLst>
        </pc:spChg>
        <pc:spChg chg="add del mod">
          <ac:chgData name="Jaspreet Kalsi" userId="6f701f51b128fcbf" providerId="LiveId" clId="{EE705D2C-F7EB-6644-A447-CE069A303EEA}" dt="2023-11-27T18:22:52.730" v="5727" actId="478"/>
          <ac:spMkLst>
            <pc:docMk/>
            <pc:sldMk cId="3619731700" sldId="288"/>
            <ac:spMk id="1097" creationId="{30E1BE0A-0C63-7A02-1FC7-2358AB22DA73}"/>
          </ac:spMkLst>
        </pc:spChg>
        <pc:spChg chg="add del mod">
          <ac:chgData name="Jaspreet Kalsi" userId="6f701f51b128fcbf" providerId="LiveId" clId="{EE705D2C-F7EB-6644-A447-CE069A303EEA}" dt="2023-11-27T18:22:52.730" v="5727" actId="478"/>
          <ac:spMkLst>
            <pc:docMk/>
            <pc:sldMk cId="3619731700" sldId="288"/>
            <ac:spMk id="1098" creationId="{8379778C-F3EF-740A-7DAE-313BC3CFAA00}"/>
          </ac:spMkLst>
        </pc:spChg>
        <pc:spChg chg="add mod">
          <ac:chgData name="Jaspreet Kalsi" userId="6f701f51b128fcbf" providerId="LiveId" clId="{EE705D2C-F7EB-6644-A447-CE069A303EEA}" dt="2023-11-27T18:23:08.293" v="5729"/>
          <ac:spMkLst>
            <pc:docMk/>
            <pc:sldMk cId="3619731700" sldId="288"/>
            <ac:spMk id="1099" creationId="{B6256943-733E-596A-C2C7-309BC57E8B7A}"/>
          </ac:spMkLst>
        </pc:spChg>
        <pc:spChg chg="add mod">
          <ac:chgData name="Jaspreet Kalsi" userId="6f701f51b128fcbf" providerId="LiveId" clId="{EE705D2C-F7EB-6644-A447-CE069A303EEA}" dt="2023-11-27T18:23:08.293" v="5729"/>
          <ac:spMkLst>
            <pc:docMk/>
            <pc:sldMk cId="3619731700" sldId="288"/>
            <ac:spMk id="1100" creationId="{A349AE18-D30C-C742-661F-463292C5376E}"/>
          </ac:spMkLst>
        </pc:spChg>
        <pc:spChg chg="add mod">
          <ac:chgData name="Jaspreet Kalsi" userId="6f701f51b128fcbf" providerId="LiveId" clId="{EE705D2C-F7EB-6644-A447-CE069A303EEA}" dt="2023-11-27T18:23:08.293" v="5729"/>
          <ac:spMkLst>
            <pc:docMk/>
            <pc:sldMk cId="3619731700" sldId="288"/>
            <ac:spMk id="1101" creationId="{EC6D0DCE-CBA3-F96B-C16F-F11117A1EA78}"/>
          </ac:spMkLst>
        </pc:spChg>
        <pc:spChg chg="add mod">
          <ac:chgData name="Jaspreet Kalsi" userId="6f701f51b128fcbf" providerId="LiveId" clId="{EE705D2C-F7EB-6644-A447-CE069A303EEA}" dt="2023-11-27T18:23:08.293" v="5729"/>
          <ac:spMkLst>
            <pc:docMk/>
            <pc:sldMk cId="3619731700" sldId="288"/>
            <ac:spMk id="1102" creationId="{2A0746A5-B290-4421-40E0-90C862C3D4C6}"/>
          </ac:spMkLst>
        </pc:spChg>
        <pc:spChg chg="add mod">
          <ac:chgData name="Jaspreet Kalsi" userId="6f701f51b128fcbf" providerId="LiveId" clId="{EE705D2C-F7EB-6644-A447-CE069A303EEA}" dt="2023-11-27T18:23:08.293" v="5729"/>
          <ac:spMkLst>
            <pc:docMk/>
            <pc:sldMk cId="3619731700" sldId="288"/>
            <ac:spMk id="1103" creationId="{ACCD8E8C-39E2-CDA5-F5B0-F4EC9882BBCA}"/>
          </ac:spMkLst>
        </pc:spChg>
        <pc:spChg chg="add mod">
          <ac:chgData name="Jaspreet Kalsi" userId="6f701f51b128fcbf" providerId="LiveId" clId="{EE705D2C-F7EB-6644-A447-CE069A303EEA}" dt="2023-11-27T18:23:08.293" v="5729"/>
          <ac:spMkLst>
            <pc:docMk/>
            <pc:sldMk cId="3619731700" sldId="288"/>
            <ac:spMk id="1104" creationId="{C06E9444-6F96-CCF0-A9C4-BF9E84DF6F47}"/>
          </ac:spMkLst>
        </pc:spChg>
        <pc:grpChg chg="add mod">
          <ac:chgData name="Jaspreet Kalsi" userId="6f701f51b128fcbf" providerId="LiveId" clId="{EE705D2C-F7EB-6644-A447-CE069A303EEA}" dt="2023-11-27T15:18:07.459" v="3033"/>
          <ac:grpSpMkLst>
            <pc:docMk/>
            <pc:sldMk cId="3619731700" sldId="288"/>
            <ac:grpSpMk id="40" creationId="{8F695C92-61D0-61BB-75B3-1FA9EE3FD7C7}"/>
          </ac:grpSpMkLst>
        </pc:grpChg>
        <pc:grpChg chg="mod">
          <ac:chgData name="Jaspreet Kalsi" userId="6f701f51b128fcbf" providerId="LiveId" clId="{EE705D2C-F7EB-6644-A447-CE069A303EEA}" dt="2023-11-27T15:18:07.459" v="3033"/>
          <ac:grpSpMkLst>
            <pc:docMk/>
            <pc:sldMk cId="3619731700" sldId="288"/>
            <ac:grpSpMk id="52" creationId="{CF1287B1-4D79-7FA6-377F-A8375E7E3B1F}"/>
          </ac:grpSpMkLst>
        </pc:grpChg>
        <pc:grpChg chg="del">
          <ac:chgData name="Jaspreet Kalsi" userId="6f701f51b128fcbf" providerId="LiveId" clId="{EE705D2C-F7EB-6644-A447-CE069A303EEA}" dt="2023-11-27T15:00:30.169" v="1849" actId="478"/>
          <ac:grpSpMkLst>
            <pc:docMk/>
            <pc:sldMk cId="3619731700" sldId="288"/>
            <ac:grpSpMk id="58" creationId="{DD6BAD29-DE55-67E5-7D89-5AB268192420}"/>
          </ac:grpSpMkLst>
        </pc:grpChg>
        <pc:grpChg chg="add mod">
          <ac:chgData name="Jaspreet Kalsi" userId="6f701f51b128fcbf" providerId="LiveId" clId="{EE705D2C-F7EB-6644-A447-CE069A303EEA}" dt="2023-11-27T15:18:41.346" v="3036"/>
          <ac:grpSpMkLst>
            <pc:docMk/>
            <pc:sldMk cId="3619731700" sldId="288"/>
            <ac:grpSpMk id="1024" creationId="{63DC18F9-D134-1061-977B-FF5DEB399479}"/>
          </ac:grpSpMkLst>
        </pc:grpChg>
        <pc:grpChg chg="del topLvl">
          <ac:chgData name="Jaspreet Kalsi" userId="6f701f51b128fcbf" providerId="LiveId" clId="{EE705D2C-F7EB-6644-A447-CE069A303EEA}" dt="2023-11-27T15:00:31.307" v="1850" actId="478"/>
          <ac:grpSpMkLst>
            <pc:docMk/>
            <pc:sldMk cId="3619731700" sldId="288"/>
            <ac:grpSpMk id="1026" creationId="{EBF1577B-613C-8940-C8FE-CCE8DF688E52}"/>
          </ac:grpSpMkLst>
        </pc:grpChg>
        <pc:grpChg chg="add mod">
          <ac:chgData name="Jaspreet Kalsi" userId="6f701f51b128fcbf" providerId="LiveId" clId="{EE705D2C-F7EB-6644-A447-CE069A303EEA}" dt="2023-11-27T15:18:41.346" v="3036"/>
          <ac:grpSpMkLst>
            <pc:docMk/>
            <pc:sldMk cId="3619731700" sldId="288"/>
            <ac:grpSpMk id="1057" creationId="{412486FD-1142-4084-BE9D-1F0362BD4EE2}"/>
          </ac:grpSpMkLst>
        </pc:grpChg>
        <pc:grpChg chg="add mod">
          <ac:chgData name="Jaspreet Kalsi" userId="6f701f51b128fcbf" providerId="LiveId" clId="{EE705D2C-F7EB-6644-A447-CE069A303EEA}" dt="2023-11-27T15:18:41.346" v="3036"/>
          <ac:grpSpMkLst>
            <pc:docMk/>
            <pc:sldMk cId="3619731700" sldId="288"/>
            <ac:grpSpMk id="1071" creationId="{8F5BC8A8-F0FA-6F1E-5B1A-B094AFFF8D63}"/>
          </ac:grpSpMkLst>
        </pc:grpChg>
        <pc:grpChg chg="add del mod">
          <ac:chgData name="Jaspreet Kalsi" userId="6f701f51b128fcbf" providerId="LiveId" clId="{EE705D2C-F7EB-6644-A447-CE069A303EEA}" dt="2023-11-27T17:57:58.176" v="3876" actId="478"/>
          <ac:grpSpMkLst>
            <pc:docMk/>
            <pc:sldMk cId="3619731700" sldId="288"/>
            <ac:grpSpMk id="1087" creationId="{832B3A0B-8102-6A85-10C4-CB78AB6D0461}"/>
          </ac:grpSpMkLst>
        </pc:grpChg>
        <pc:grpChg chg="del">
          <ac:chgData name="Jaspreet Kalsi" userId="6f701f51b128fcbf" providerId="LiveId" clId="{EE705D2C-F7EB-6644-A447-CE069A303EEA}" dt="2023-11-27T15:00:25.662" v="1846" actId="478"/>
          <ac:grpSpMkLst>
            <pc:docMk/>
            <pc:sldMk cId="3619731700" sldId="288"/>
            <ac:grpSpMk id="1128" creationId="{C18BF32D-A3AC-4AB7-751F-81789147CB33}"/>
          </ac:grpSpMkLst>
        </pc:grpChg>
        <pc:grpChg chg="del">
          <ac:chgData name="Jaspreet Kalsi" userId="6f701f51b128fcbf" providerId="LiveId" clId="{EE705D2C-F7EB-6644-A447-CE069A303EEA}" dt="2023-11-27T15:00:32.288" v="1851" actId="478"/>
          <ac:grpSpMkLst>
            <pc:docMk/>
            <pc:sldMk cId="3619731700" sldId="288"/>
            <ac:grpSpMk id="1158" creationId="{B2AE1656-55D2-D024-E4AE-F149C1B88375}"/>
          </ac:grpSpMkLst>
        </pc:grpChg>
        <pc:grpChg chg="del">
          <ac:chgData name="Jaspreet Kalsi" userId="6f701f51b128fcbf" providerId="LiveId" clId="{EE705D2C-F7EB-6644-A447-CE069A303EEA}" dt="2023-11-27T15:00:33.130" v="1852" actId="478"/>
          <ac:grpSpMkLst>
            <pc:docMk/>
            <pc:sldMk cId="3619731700" sldId="288"/>
            <ac:grpSpMk id="1160" creationId="{4AF9C556-3BA0-23C3-1FAA-BEAE7FC117BC}"/>
          </ac:grpSpMkLst>
        </pc:grpChg>
        <pc:grpChg chg="del">
          <ac:chgData name="Jaspreet Kalsi" userId="6f701f51b128fcbf" providerId="LiveId" clId="{EE705D2C-F7EB-6644-A447-CE069A303EEA}" dt="2023-11-27T15:00:27.020" v="1847" actId="478"/>
          <ac:grpSpMkLst>
            <pc:docMk/>
            <pc:sldMk cId="3619731700" sldId="288"/>
            <ac:grpSpMk id="1166" creationId="{8CA184C5-DD84-6660-263F-6CF564823CC4}"/>
          </ac:grpSpMkLst>
        </pc:grpChg>
        <pc:picChg chg="add mod">
          <ac:chgData name="Jaspreet Kalsi" userId="6f701f51b128fcbf" providerId="LiveId" clId="{EE705D2C-F7EB-6644-A447-CE069A303EEA}" dt="2023-11-27T17:58:00.677" v="3878" actId="1076"/>
          <ac:picMkLst>
            <pc:docMk/>
            <pc:sldMk cId="3619731700" sldId="288"/>
            <ac:picMk id="33" creationId="{465BEC1D-B7F7-3F58-8F23-1AAFCFB366E0}"/>
          </ac:picMkLst>
        </pc:picChg>
        <pc:picChg chg="add mod">
          <ac:chgData name="Jaspreet Kalsi" userId="6f701f51b128fcbf" providerId="LiveId" clId="{EE705D2C-F7EB-6644-A447-CE069A303EEA}" dt="2023-11-27T15:15:08.698" v="2545" actId="1076"/>
          <ac:picMkLst>
            <pc:docMk/>
            <pc:sldMk cId="3619731700" sldId="288"/>
            <ac:picMk id="37" creationId="{EE6ADCB7-D875-8D7E-3E12-6AB20A59A3E1}"/>
          </ac:picMkLst>
        </pc:picChg>
        <pc:cxnChg chg="mod">
          <ac:chgData name="Jaspreet Kalsi" userId="6f701f51b128fcbf" providerId="LiveId" clId="{EE705D2C-F7EB-6644-A447-CE069A303EEA}" dt="2023-11-27T15:18:55.001" v="3038"/>
          <ac:cxnSpMkLst>
            <pc:docMk/>
            <pc:sldMk cId="3619731700" sldId="288"/>
            <ac:cxnSpMk id="1088" creationId="{B4072911-EF6C-0276-13CF-EFCFFE17A031}"/>
          </ac:cxnSpMkLst>
        </pc:cxnChg>
        <pc:cxnChg chg="del mod">
          <ac:chgData name="Jaspreet Kalsi" userId="6f701f51b128fcbf" providerId="LiveId" clId="{EE705D2C-F7EB-6644-A447-CE069A303EEA}" dt="2023-11-27T17:57:56.046" v="3875" actId="478"/>
          <ac:cxnSpMkLst>
            <pc:docMk/>
            <pc:sldMk cId="3619731700" sldId="288"/>
            <ac:cxnSpMk id="1089" creationId="{31DC4CC4-0AD7-5B8E-971D-B2551F2E9D55}"/>
          </ac:cxnSpMkLst>
        </pc:cxnChg>
        <pc:cxnChg chg="mod">
          <ac:chgData name="Jaspreet Kalsi" userId="6f701f51b128fcbf" providerId="LiveId" clId="{EE705D2C-F7EB-6644-A447-CE069A303EEA}" dt="2023-11-27T15:18:55.001" v="3038"/>
          <ac:cxnSpMkLst>
            <pc:docMk/>
            <pc:sldMk cId="3619731700" sldId="288"/>
            <ac:cxnSpMk id="1090" creationId="{E364896A-F7FA-3047-DE91-306EF2DFD85C}"/>
          </ac:cxnSpMkLst>
        </pc:cxnChg>
      </pc:sldChg>
      <pc:sldChg chg="addSp delSp modSp add del setBg">
        <pc:chgData name="Jaspreet Kalsi" userId="6f701f51b128fcbf" providerId="LiveId" clId="{EE705D2C-F7EB-6644-A447-CE069A303EEA}" dt="2023-11-26T14:29:16.002" v="978" actId="2696"/>
        <pc:sldMkLst>
          <pc:docMk/>
          <pc:sldMk cId="2016847548" sldId="289"/>
        </pc:sldMkLst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7" creationId="{B7E13B9E-4632-4CDD-1DEB-C6DD872CB666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10" creationId="{A4C8BB76-C3EE-8031-07A6-9A7F735863B0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28" creationId="{B01EB1A6-26C7-9185-0165-8B32EF9290CC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29" creationId="{ED303E72-0872-A5A8-AA2E-6B28F3096654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30" creationId="{FFD9D980-DE96-7B94-8282-B907CE43B29C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33" creationId="{EE67E0FE-E9D7-13DB-F3B9-2C4C383A09C0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37" creationId="{92531963-DEF0-BC07-ABBA-2F9D820BE797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40" creationId="{832FAE02-2B82-01A0-4877-047892D5EBBB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55" creationId="{1B05AE09-D756-F159-DD07-4EC7DD46C459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56" creationId="{906EE677-7246-BE60-575A-04284B4DA15D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57" creationId="{273DA72D-537E-B8C3-331E-E113AE28239E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24" creationId="{F42E51DC-7229-C4C9-7A85-5D55AA7BA4D7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27" creationId="{B7DE5449-A950-B94E-0A11-C6D88137D533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28" creationId="{E5A4F4FC-E43D-7388-B021-DD7C67D9DF2A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29" creationId="{FB9D1083-A213-46AC-3E29-B6F5B6C1336B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31" creationId="{8698D566-4C14-3AE8-CBE7-0A69B82FEBE6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33" creationId="{DF8A57D3-C70B-D769-8CFD-495D7378FF51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34" creationId="{A2514662-6F6F-3B86-E632-14DAA2876361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35" creationId="{CD5511CA-8A1C-616E-D6CD-56609F1B8D2F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44" creationId="{6F43DDFF-B207-3794-FC78-0E3EDD04F936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45" creationId="{FB30CAAC-2684-E980-EE67-DD8703EF6E4F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55" creationId="{87AC371F-6CBD-F3D1-9872-7D118AF7D156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56" creationId="{EB61BFA7-14D7-6609-940D-442DB2D8825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57" creationId="{F8CB9ADB-E0BC-3DBD-7D7F-3CD0129FAD0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58" creationId="{B2EFD483-6A05-E98A-A971-3681EB826AC1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59" creationId="{21837570-63E4-FFBE-3610-B0C5AE0DE4C5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0" creationId="{4DE560AD-0B77-EA4B-E617-2F3A467E764D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2" creationId="{D4F9E88D-0143-0BDA-F940-D13A2663FA79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3" creationId="{E8E0858F-45B7-2225-DED7-D6F10C832A8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4" creationId="{676403B9-F0BE-81C7-5807-A7A86A6774AB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5" creationId="{86401BD6-F360-E8C6-FC17-5488A89B8FC5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6" creationId="{15276EA2-1890-4568-1C45-CCEBA45DCC66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7" creationId="{3EF9BA70-72AF-249F-ADDE-EB2798249184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8" creationId="{79C85E3A-C296-08B4-6AAE-22CBD3DA2070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69" creationId="{C693550D-4F36-5B71-3722-CA7011AEB6C8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0" creationId="{9FF688B3-1BB5-47A8-8C79-5329416BCF3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1" creationId="{3AD9C181-6453-42BB-71EF-CE95A98B41E7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2" creationId="{5ED6D2EB-E4F2-9210-2EE9-4073DDB3C656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3" creationId="{62ABE9EB-9D2F-E62C-C43E-22BF4A372EE7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4" creationId="{FD242AEE-D8B3-E243-AF7A-F01240664C20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5" creationId="{7C853005-F8BD-7581-EF20-469F059C13F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7" creationId="{E1ECF535-9B53-1692-F5FC-7B01FD1A1E55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8" creationId="{953C791F-EB39-8C91-CCEA-2AA23F170A46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79" creationId="{0F71D4CA-174A-44FF-59DA-E9C35509167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0" creationId="{68DDDD38-E38A-D4B4-653F-A479CC9990ED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1" creationId="{316CA161-6FA3-81C6-59B7-56A0C14F46A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2" creationId="{BDB2EED0-9F32-9489-5136-FCE2C0282A01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3" creationId="{05D50441-D788-6986-9CFF-4CA5D61950E7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4" creationId="{642AF20F-09F1-048F-0C8E-EAECD36FECD0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5" creationId="{4B492BDB-EC57-3DD3-8987-46382236A145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6" creationId="{919D2989-F641-F02A-95B9-B858E066534B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7" creationId="{BBD74A55-A83A-9080-006B-6215C310A74F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8" creationId="{8E985664-7532-64E5-2B58-04BFC4AEAE2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89" creationId="{5688373F-9E67-0424-5197-570DF9C991C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1" creationId="{35E3ABD7-A830-DE90-E8DB-0D30CF6EDD5B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2" creationId="{41A1AC83-9342-3CA7-49DB-77954EE48CF1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3" creationId="{66C6CA3E-D867-3189-B9F8-0E61E84C0EC5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4" creationId="{6EE5E979-2FC9-18DB-4274-4FA199BED3D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5" creationId="{D2EDE15C-C3C4-8623-A2BF-0FCCAC9C9F0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6" creationId="{9E551735-A501-34C4-D666-7BCA8CD8E2E0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7" creationId="{2CAED181-406F-EACC-24CC-B19B41949C58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8" creationId="{9476EF61-6BF8-6129-09AC-B9FABFC1E594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099" creationId="{77E5400C-9E1E-ADE8-62D9-ED5B7024AFCD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00" creationId="{B5B1EF98-B03B-714F-23A9-66E4B4FF03AF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01" creationId="{82C6C84A-179A-DB98-0861-9880DFF8062E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02" creationId="{14AA42F4-B26F-4E57-B72D-CC98699C026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03" creationId="{47A0FA7A-3AE3-0737-C42B-F506C139B12F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04" creationId="{2CBBE767-A10F-2368-29E2-EB7701DF2950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05" creationId="{714C57ED-B18B-724F-9D6C-57DA058D5C00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11" creationId="{BA53E04B-2E69-FC9F-CD05-0493108A08BA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12" creationId="{4F5952F7-FA7B-D382-7E09-2519B17CEE7F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13" creationId="{E688AC88-DD31-BAD0-923E-C519DF04A6F6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59" creationId="{FB9E4D1C-5022-6CAE-915C-9EFC278D64F1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61" creationId="{D1B748B3-7674-9F5E-A7C6-79F266182324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62" creationId="{4915FEF9-17ED-3D33-6C2B-9327B37C622B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77" creationId="{3EF5FD9E-E2D1-95AE-959D-8CCF6ABED710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78" creationId="{7DFC24AA-75F7-FAB2-3418-B7037CBB13A9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79" creationId="{9B077363-75D4-8A5E-0996-7847877B244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82" creationId="{FBF2A1CF-CD87-E692-91E8-0536643904D5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83" creationId="{CDCFD013-4328-AB5C-9C89-F2F48B117C6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84" creationId="{8D8AEB31-8EE2-87CB-48B1-B2AF2619AC24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85" creationId="{E8A42640-7FA8-F31F-1550-CFF808A511A1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86" creationId="{E4D46099-8E4C-9A85-6B68-5768AD85BC89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87" creationId="{782437A7-89F7-5A82-DBEE-1DA4208C78F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88" creationId="{E66C46F0-AB00-C536-5B74-8C86187293BC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89" creationId="{62798E5A-0E32-A081-1081-4659BF66452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90" creationId="{A0AB97DE-A828-368D-B63D-508F3777A8D5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91" creationId="{75CC4C43-B0C2-230C-4206-6B1153D0C623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92" creationId="{0E9AE3BE-9ACD-C357-A184-A88F60865F2D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93" creationId="{720BE834-8D8F-0325-2FBA-8C332BD37608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94" creationId="{65F7B83D-9D17-E4D8-E61D-D30B06F2F1A3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1195" creationId="{67F34966-AD31-EF77-8F70-D3DC84ED110C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1196" creationId="{26F9D900-CBE1-AF96-07E6-A0D03A10AA37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98" creationId="{77202143-2323-F97D-6576-C94A41849FB4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199" creationId="{A7F49996-5826-6AB8-5388-76C414BD119F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0" creationId="{C9C7743D-3F9C-B996-E0FC-C296C92BC35B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1" creationId="{B50D6A66-A9E2-7A69-20C1-EBF6EA4D7B73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2" creationId="{6828A66D-2771-CBB7-244C-09D5E90146AD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4" creationId="{D34C9475-27BB-1510-996E-3EF5A0C3381A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5" creationId="{8431918D-C26B-3BC8-071C-07D1ABB39D52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6" creationId="{2DFD627E-FAE2-41C4-63C7-49E3D5A2F014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7" creationId="{F82BCB9A-3252-A7B4-48BC-15414B3F3427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8" creationId="{8287699D-F573-D604-D28F-726A4018CD37}"/>
          </ac:spMkLst>
        </pc:spChg>
        <pc:spChg chg="mod">
          <ac:chgData name="Jaspreet Kalsi" userId="6f701f51b128fcbf" providerId="LiveId" clId="{EE705D2C-F7EB-6644-A447-CE069A303EEA}" dt="2023-11-26T14:28:35.055" v="976"/>
          <ac:spMkLst>
            <pc:docMk/>
            <pc:sldMk cId="2016847548" sldId="289"/>
            <ac:spMk id="1209" creationId="{0D32240D-F46F-774F-F3E4-FB379ACF703C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1210" creationId="{E9001EFC-AF44-D73F-80D4-533A59D415FD}"/>
          </ac:spMkLst>
        </pc:spChg>
        <pc:spChg chg="add del mod">
          <ac:chgData name="Jaspreet Kalsi" userId="6f701f51b128fcbf" providerId="LiveId" clId="{EE705D2C-F7EB-6644-A447-CE069A303EEA}" dt="2023-11-26T14:28:38.337" v="977"/>
          <ac:spMkLst>
            <pc:docMk/>
            <pc:sldMk cId="2016847548" sldId="289"/>
            <ac:spMk id="1211" creationId="{6EA1D83F-0EF0-423B-BCDB-DAE23F54FC50}"/>
          </ac:spMkLst>
        </pc:s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60" creationId="{3DE0100D-C965-B7AD-0611-C6D08B75C8D9}"/>
          </ac:grpSpMkLst>
        </pc:grpChg>
        <pc:grpChg chg="mod">
          <ac:chgData name="Jaspreet Kalsi" userId="6f701f51b128fcbf" providerId="LiveId" clId="{EE705D2C-F7EB-6644-A447-CE069A303EEA}" dt="2023-11-26T14:28:35.055" v="976"/>
          <ac:grpSpMkLst>
            <pc:docMk/>
            <pc:sldMk cId="2016847548" sldId="289"/>
            <ac:grpSpMk id="1025" creationId="{F76AF587-41E5-2332-6169-25745A120F4D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030" creationId="{10DE0D76-C985-BD44-8B7D-D6CA40E9CF1C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046" creationId="{0705B697-40CC-1FC4-4DAC-E83688D2892C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061" creationId="{0B33A81D-BFC0-594D-86EF-8CB190B2B8A8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076" creationId="{F99DAE32-2334-74D0-44B7-AF42F5C1DB63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090" creationId="{BEEC15AA-F777-52F0-EAB0-E94547B691E2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106" creationId="{94DA170E-8C05-8F9E-B04F-AB6A2938E16F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110" creationId="{D36F3CA7-A40F-1D0B-6BA8-7DEEE24FC8B2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181" creationId="{C8CDD7AE-4B6B-C540-6E18-6053FE45046E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197" creationId="{92EF2F87-E21A-918D-A499-EEB7BC1A682F}"/>
          </ac:grpSpMkLst>
        </pc:grpChg>
        <pc:grpChg chg="add del mod">
          <ac:chgData name="Jaspreet Kalsi" userId="6f701f51b128fcbf" providerId="LiveId" clId="{EE705D2C-F7EB-6644-A447-CE069A303EEA}" dt="2023-11-26T14:28:38.337" v="977"/>
          <ac:grpSpMkLst>
            <pc:docMk/>
            <pc:sldMk cId="2016847548" sldId="289"/>
            <ac:grpSpMk id="1203" creationId="{64AF6A3E-B243-4DEB-D012-86B5796313B2}"/>
          </ac:grpSpMkLst>
        </pc:grpChg>
        <pc:picChg chg="add del mod">
          <ac:chgData name="Jaspreet Kalsi" userId="6f701f51b128fcbf" providerId="LiveId" clId="{EE705D2C-F7EB-6644-A447-CE069A303EEA}" dt="2023-11-26T14:28:38.337" v="977"/>
          <ac:picMkLst>
            <pc:docMk/>
            <pc:sldMk cId="2016847548" sldId="289"/>
            <ac:picMk id="1180" creationId="{C1D120A8-9A9D-FD6F-017A-6F31D43629AF}"/>
          </ac:picMkLst>
        </pc:picChg>
        <pc:picChg chg="add del mod">
          <ac:chgData name="Jaspreet Kalsi" userId="6f701f51b128fcbf" providerId="LiveId" clId="{EE705D2C-F7EB-6644-A447-CE069A303EEA}" dt="2023-11-26T14:28:38.337" v="977"/>
          <ac:picMkLst>
            <pc:docMk/>
            <pc:sldMk cId="2016847548" sldId="289"/>
            <ac:picMk id="1212" creationId="{CF779665-F432-21DC-7FDC-E9AC3D0EC135}"/>
          </ac:picMkLst>
        </pc:picChg>
        <pc:picChg chg="add del mod">
          <ac:chgData name="Jaspreet Kalsi" userId="6f701f51b128fcbf" providerId="LiveId" clId="{EE705D2C-F7EB-6644-A447-CE069A303EEA}" dt="2023-11-26T14:28:38.337" v="977"/>
          <ac:picMkLst>
            <pc:docMk/>
            <pc:sldMk cId="2016847548" sldId="289"/>
            <ac:picMk id="1213" creationId="{6C48AABB-60C0-8D5B-C93A-F18A2F73E0A1}"/>
          </ac:picMkLst>
        </pc:picChg>
        <pc:cxnChg chg="add del mod">
          <ac:chgData name="Jaspreet Kalsi" userId="6f701f51b128fcbf" providerId="LiveId" clId="{EE705D2C-F7EB-6644-A447-CE069A303EEA}" dt="2023-11-26T14:28:38.337" v="977"/>
          <ac:cxnSpMkLst>
            <pc:docMk/>
            <pc:sldMk cId="2016847548" sldId="289"/>
            <ac:cxnSpMk id="47" creationId="{A747D6F0-5E81-03AC-69FE-6FD460BF771C}"/>
          </ac:cxnSpMkLst>
        </pc:cxnChg>
        <pc:cxnChg chg="add del mod">
          <ac:chgData name="Jaspreet Kalsi" userId="6f701f51b128fcbf" providerId="LiveId" clId="{EE705D2C-F7EB-6644-A447-CE069A303EEA}" dt="2023-11-26T14:28:38.337" v="977"/>
          <ac:cxnSpMkLst>
            <pc:docMk/>
            <pc:sldMk cId="2016847548" sldId="289"/>
            <ac:cxnSpMk id="52" creationId="{99597947-90D8-DDE1-BB7F-E080BC3A9111}"/>
          </ac:cxnSpMkLst>
        </pc:cxnChg>
        <pc:cxnChg chg="mod">
          <ac:chgData name="Jaspreet Kalsi" userId="6f701f51b128fcbf" providerId="LiveId" clId="{EE705D2C-F7EB-6644-A447-CE069A303EEA}" dt="2023-11-26T14:28:35.055" v="976"/>
          <ac:cxnSpMkLst>
            <pc:docMk/>
            <pc:sldMk cId="2016847548" sldId="289"/>
            <ac:cxnSpMk id="1107" creationId="{1F0050A1-67CD-0B51-3ACD-487889BED19E}"/>
          </ac:cxnSpMkLst>
        </pc:cxnChg>
        <pc:cxnChg chg="mod">
          <ac:chgData name="Jaspreet Kalsi" userId="6f701f51b128fcbf" providerId="LiveId" clId="{EE705D2C-F7EB-6644-A447-CE069A303EEA}" dt="2023-11-26T14:28:35.055" v="976"/>
          <ac:cxnSpMkLst>
            <pc:docMk/>
            <pc:sldMk cId="2016847548" sldId="289"/>
            <ac:cxnSpMk id="1108" creationId="{4ABDC0C2-8F23-160E-E6A5-C946BDFFEA27}"/>
          </ac:cxnSpMkLst>
        </pc:cxnChg>
        <pc:cxnChg chg="mod">
          <ac:chgData name="Jaspreet Kalsi" userId="6f701f51b128fcbf" providerId="LiveId" clId="{EE705D2C-F7EB-6644-A447-CE069A303EEA}" dt="2023-11-26T14:28:35.055" v="976"/>
          <ac:cxnSpMkLst>
            <pc:docMk/>
            <pc:sldMk cId="2016847548" sldId="289"/>
            <ac:cxnSpMk id="1109" creationId="{D009A08C-6D0A-CDC0-EF83-4031B805F12B}"/>
          </ac:cxnSpMkLst>
        </pc:cxnChg>
      </pc:sldChg>
      <pc:sldChg chg="addSp delSp modSp add mod">
        <pc:chgData name="Jaspreet Kalsi" userId="6f701f51b128fcbf" providerId="LiveId" clId="{EE705D2C-F7EB-6644-A447-CE069A303EEA}" dt="2023-11-27T18:41:48.279" v="6060" actId="20577"/>
        <pc:sldMkLst>
          <pc:docMk/>
          <pc:sldMk cId="2541051548" sldId="289"/>
        </pc:sldMkLst>
        <pc:spChg chg="del">
          <ac:chgData name="Jaspreet Kalsi" userId="6f701f51b128fcbf" providerId="LiveId" clId="{EE705D2C-F7EB-6644-A447-CE069A303EEA}" dt="2023-11-27T18:33:53.823" v="5730" actId="478"/>
          <ac:spMkLst>
            <pc:docMk/>
            <pc:sldMk cId="2541051548" sldId="289"/>
            <ac:spMk id="3" creationId="{100D3526-C855-D54C-A854-118A3BDDF39A}"/>
          </ac:spMkLst>
        </pc:spChg>
        <pc:spChg chg="del">
          <ac:chgData name="Jaspreet Kalsi" userId="6f701f51b128fcbf" providerId="LiveId" clId="{EE705D2C-F7EB-6644-A447-CE069A303EEA}" dt="2023-11-27T18:33:53.823" v="5730" actId="478"/>
          <ac:spMkLst>
            <pc:docMk/>
            <pc:sldMk cId="2541051548" sldId="289"/>
            <ac:spMk id="6" creationId="{C37D8155-ABD6-F7A4-7BD8-AE4C6523263F}"/>
          </ac:spMkLst>
        </pc:spChg>
        <pc:spChg chg="del">
          <ac:chgData name="Jaspreet Kalsi" userId="6f701f51b128fcbf" providerId="LiveId" clId="{EE705D2C-F7EB-6644-A447-CE069A303EEA}" dt="2023-11-27T15:02:31.136" v="1868" actId="478"/>
          <ac:spMkLst>
            <pc:docMk/>
            <pc:sldMk cId="2541051548" sldId="289"/>
            <ac:spMk id="10" creationId="{D8D94259-CBF5-9528-51CA-FF9232642063}"/>
          </ac:spMkLst>
        </pc:spChg>
        <pc:spChg chg="mod">
          <ac:chgData name="Jaspreet Kalsi" userId="6f701f51b128fcbf" providerId="LiveId" clId="{EE705D2C-F7EB-6644-A447-CE069A303EEA}" dt="2023-11-27T15:21:19.292" v="3337" actId="20577"/>
          <ac:spMkLst>
            <pc:docMk/>
            <pc:sldMk cId="2541051548" sldId="289"/>
            <ac:spMk id="18" creationId="{355AC3A1-175C-0DC3-DBAF-F626A9F3780A}"/>
          </ac:spMkLst>
        </pc:spChg>
        <pc:spChg chg="del">
          <ac:chgData name="Jaspreet Kalsi" userId="6f701f51b128fcbf" providerId="LiveId" clId="{EE705D2C-F7EB-6644-A447-CE069A303EEA}" dt="2023-11-27T18:33:53.823" v="5730" actId="478"/>
          <ac:spMkLst>
            <pc:docMk/>
            <pc:sldMk cId="2541051548" sldId="289"/>
            <ac:spMk id="21" creationId="{ED46B618-2CF9-7941-4EA2-0BAE302EE4DF}"/>
          </ac:spMkLst>
        </pc:spChg>
        <pc:spChg chg="del">
          <ac:chgData name="Jaspreet Kalsi" userId="6f701f51b128fcbf" providerId="LiveId" clId="{EE705D2C-F7EB-6644-A447-CE069A303EEA}" dt="2023-11-27T18:33:53.823" v="5730" actId="478"/>
          <ac:spMkLst>
            <pc:docMk/>
            <pc:sldMk cId="2541051548" sldId="289"/>
            <ac:spMk id="23" creationId="{75360DE8-31EE-FAA3-E777-47004567BD15}"/>
          </ac:spMkLst>
        </pc:spChg>
        <pc:spChg chg="del">
          <ac:chgData name="Jaspreet Kalsi" userId="6f701f51b128fcbf" providerId="LiveId" clId="{EE705D2C-F7EB-6644-A447-CE069A303EEA}" dt="2023-11-27T18:33:53.823" v="5730" actId="478"/>
          <ac:spMkLst>
            <pc:docMk/>
            <pc:sldMk cId="2541051548" sldId="289"/>
            <ac:spMk id="24" creationId="{12F45DBD-39B5-8EEA-4A17-0E22C21E483A}"/>
          </ac:spMkLst>
        </pc:spChg>
        <pc:spChg chg="del">
          <ac:chgData name="Jaspreet Kalsi" userId="6f701f51b128fcbf" providerId="LiveId" clId="{EE705D2C-F7EB-6644-A447-CE069A303EEA}" dt="2023-11-27T18:33:53.823" v="5730" actId="478"/>
          <ac:spMkLst>
            <pc:docMk/>
            <pc:sldMk cId="2541051548" sldId="289"/>
            <ac:spMk id="25" creationId="{B3D8B386-F8F1-A598-25C0-8F33F16B23D7}"/>
          </ac:spMkLst>
        </pc:spChg>
        <pc:spChg chg="add mod">
          <ac:chgData name="Jaspreet Kalsi" userId="6f701f51b128fcbf" providerId="LiveId" clId="{EE705D2C-F7EB-6644-A447-CE069A303EEA}" dt="2023-11-27T15:04:41.720" v="1987" actId="1035"/>
          <ac:spMkLst>
            <pc:docMk/>
            <pc:sldMk cId="2541051548" sldId="289"/>
            <ac:spMk id="29" creationId="{92AABA54-8D85-5BB5-DCE0-DCF48CECAA29}"/>
          </ac:spMkLst>
        </pc:spChg>
        <pc:spChg chg="mod">
          <ac:chgData name="Jaspreet Kalsi" userId="6f701f51b128fcbf" providerId="LiveId" clId="{EE705D2C-F7EB-6644-A447-CE069A303EEA}" dt="2023-11-27T15:23:32.283" v="3489" actId="20577"/>
          <ac:spMkLst>
            <pc:docMk/>
            <pc:sldMk cId="2541051548" sldId="289"/>
            <ac:spMk id="33" creationId="{AA30E629-4B1E-B327-BD6D-CF065C3144FA}"/>
          </ac:spMkLst>
        </pc:spChg>
        <pc:spChg chg="mod">
          <ac:chgData name="Jaspreet Kalsi" userId="6f701f51b128fcbf" providerId="LiveId" clId="{EE705D2C-F7EB-6644-A447-CE069A303EEA}" dt="2023-11-27T15:18:04.166" v="3032"/>
          <ac:spMkLst>
            <pc:docMk/>
            <pc:sldMk cId="2541051548" sldId="289"/>
            <ac:spMk id="40" creationId="{535FC2E4-8DEE-606F-1C66-54E6EE5009C2}"/>
          </ac:spMkLst>
        </pc:spChg>
        <pc:spChg chg="del">
          <ac:chgData name="Jaspreet Kalsi" userId="6f701f51b128fcbf" providerId="LiveId" clId="{EE705D2C-F7EB-6644-A447-CE069A303EEA}" dt="2023-11-27T15:02:29.240" v="1867" actId="478"/>
          <ac:spMkLst>
            <pc:docMk/>
            <pc:sldMk cId="2541051548" sldId="289"/>
            <ac:spMk id="41" creationId="{8D40B542-B96D-DDA7-C265-DF105A2A5899}"/>
          </ac:spMkLst>
        </pc:spChg>
        <pc:spChg chg="mod">
          <ac:chgData name="Jaspreet Kalsi" userId="6f701f51b128fcbf" providerId="LiveId" clId="{EE705D2C-F7EB-6644-A447-CE069A303EEA}" dt="2023-11-27T15:18:04.166" v="3032"/>
          <ac:spMkLst>
            <pc:docMk/>
            <pc:sldMk cId="2541051548" sldId="289"/>
            <ac:spMk id="47" creationId="{D2DA7B1F-28EF-F9CF-10B8-940C3ACFED13}"/>
          </ac:spMkLst>
        </pc:spChg>
        <pc:spChg chg="mod">
          <ac:chgData name="Jaspreet Kalsi" userId="6f701f51b128fcbf" providerId="LiveId" clId="{EE705D2C-F7EB-6644-A447-CE069A303EEA}" dt="2023-11-27T15:18:04.166" v="3032"/>
          <ac:spMkLst>
            <pc:docMk/>
            <pc:sldMk cId="2541051548" sldId="289"/>
            <ac:spMk id="52" creationId="{C7B66B00-05AE-9EB7-FB51-E63F92D5A0C9}"/>
          </ac:spMkLst>
        </pc:spChg>
        <pc:spChg chg="add mod">
          <ac:chgData name="Jaspreet Kalsi" userId="6f701f51b128fcbf" providerId="LiveId" clId="{EE705D2C-F7EB-6644-A447-CE069A303EEA}" dt="2023-11-27T18:41:48.279" v="6060" actId="20577"/>
          <ac:spMkLst>
            <pc:docMk/>
            <pc:sldMk cId="2541051548" sldId="289"/>
            <ac:spMk id="1024" creationId="{550653B9-8C88-69C0-BACA-A32ACAD45CF3}"/>
          </ac:spMkLst>
        </pc:spChg>
        <pc:spChg chg="add mod">
          <ac:chgData name="Jaspreet Kalsi" userId="6f701f51b128fcbf" providerId="LiveId" clId="{EE705D2C-F7EB-6644-A447-CE069A303EEA}" dt="2023-11-27T18:33:55.073" v="5731"/>
          <ac:spMkLst>
            <pc:docMk/>
            <pc:sldMk cId="2541051548" sldId="289"/>
            <ac:spMk id="1025" creationId="{BAA6644F-D7D6-095A-9506-6F1FF666E8FE}"/>
          </ac:spMkLst>
        </pc:spChg>
        <pc:spChg chg="add mod">
          <ac:chgData name="Jaspreet Kalsi" userId="6f701f51b128fcbf" providerId="LiveId" clId="{EE705D2C-F7EB-6644-A447-CE069A303EEA}" dt="2023-11-27T18:33:55.073" v="5731"/>
          <ac:spMkLst>
            <pc:docMk/>
            <pc:sldMk cId="2541051548" sldId="289"/>
            <ac:spMk id="1027" creationId="{8B1647D7-A2C0-44EE-58F4-F54D4FF52989}"/>
          </ac:spMkLst>
        </pc:spChg>
        <pc:spChg chg="add mod">
          <ac:chgData name="Jaspreet Kalsi" userId="6f701f51b128fcbf" providerId="LiveId" clId="{EE705D2C-F7EB-6644-A447-CE069A303EEA}" dt="2023-11-27T18:33:55.073" v="5731"/>
          <ac:spMkLst>
            <pc:docMk/>
            <pc:sldMk cId="2541051548" sldId="289"/>
            <ac:spMk id="1028" creationId="{96A7FEE9-B2B2-6CCF-231A-C51938B62A10}"/>
          </ac:spMkLst>
        </pc:spChg>
        <pc:spChg chg="add mod">
          <ac:chgData name="Jaspreet Kalsi" userId="6f701f51b128fcbf" providerId="LiveId" clId="{EE705D2C-F7EB-6644-A447-CE069A303EEA}" dt="2023-11-27T18:33:55.073" v="5731"/>
          <ac:spMkLst>
            <pc:docMk/>
            <pc:sldMk cId="2541051548" sldId="289"/>
            <ac:spMk id="1029" creationId="{C9031F10-6155-003C-B393-C49F8F837825}"/>
          </ac:spMkLst>
        </pc:spChg>
        <pc:spChg chg="add mod">
          <ac:chgData name="Jaspreet Kalsi" userId="6f701f51b128fcbf" providerId="LiveId" clId="{EE705D2C-F7EB-6644-A447-CE069A303EEA}" dt="2023-11-27T18:33:55.073" v="5731"/>
          <ac:spMkLst>
            <pc:docMk/>
            <pc:sldMk cId="2541051548" sldId="289"/>
            <ac:spMk id="1030" creationId="{7DAAE11C-AD17-DEE6-450B-F13F7898F97F}"/>
          </ac:spMkLst>
        </pc:spChg>
        <pc:spChg chg="add mod">
          <ac:chgData name="Jaspreet Kalsi" userId="6f701f51b128fcbf" providerId="LiveId" clId="{EE705D2C-F7EB-6644-A447-CE069A303EEA}" dt="2023-11-27T18:33:55.073" v="5731"/>
          <ac:spMkLst>
            <pc:docMk/>
            <pc:sldMk cId="2541051548" sldId="289"/>
            <ac:spMk id="1031" creationId="{15591D42-690C-AC60-9E5D-950AEB8C60FC}"/>
          </ac:spMkLst>
        </pc:spChg>
        <pc:grpChg chg="add mod">
          <ac:chgData name="Jaspreet Kalsi" userId="6f701f51b128fcbf" providerId="LiveId" clId="{EE705D2C-F7EB-6644-A447-CE069A303EEA}" dt="2023-11-27T15:18:04.166" v="3032"/>
          <ac:grpSpMkLst>
            <pc:docMk/>
            <pc:sldMk cId="2541051548" sldId="289"/>
            <ac:grpSpMk id="30" creationId="{8FBB9D70-2B1C-10B7-8D91-0D7D4429B4DD}"/>
          </ac:grpSpMkLst>
        </pc:grpChg>
        <pc:grpChg chg="mod">
          <ac:chgData name="Jaspreet Kalsi" userId="6f701f51b128fcbf" providerId="LiveId" clId="{EE705D2C-F7EB-6644-A447-CE069A303EEA}" dt="2023-11-27T15:18:04.166" v="3032"/>
          <ac:grpSpMkLst>
            <pc:docMk/>
            <pc:sldMk cId="2541051548" sldId="289"/>
            <ac:grpSpMk id="37" creationId="{898A1508-9F7D-FBE1-7B16-CC00B77682CD}"/>
          </ac:grpSpMkLst>
        </pc:grpChg>
        <pc:grpChg chg="add del mod">
          <ac:chgData name="Jaspreet Kalsi" userId="6f701f51b128fcbf" providerId="LiveId" clId="{EE705D2C-F7EB-6644-A447-CE069A303EEA}" dt="2023-11-27T17:59:09.067" v="4014" actId="478"/>
          <ac:grpSpMkLst>
            <pc:docMk/>
            <pc:sldMk cId="2541051548" sldId="289"/>
            <ac:grpSpMk id="55" creationId="{DADF308A-A51B-0CE2-87EB-242CFF22F616}"/>
          </ac:grpSpMkLst>
        </pc:grpChg>
        <pc:grpChg chg="del">
          <ac:chgData name="Jaspreet Kalsi" userId="6f701f51b128fcbf" providerId="LiveId" clId="{EE705D2C-F7EB-6644-A447-CE069A303EEA}" dt="2023-11-27T15:02:24.867" v="1865" actId="478"/>
          <ac:grpSpMkLst>
            <pc:docMk/>
            <pc:sldMk cId="2541051548" sldId="289"/>
            <ac:grpSpMk id="58" creationId="{DD6BAD29-DE55-67E5-7D89-5AB268192420}"/>
          </ac:grpSpMkLst>
        </pc:grpChg>
        <pc:grpChg chg="del">
          <ac:chgData name="Jaspreet Kalsi" userId="6f701f51b128fcbf" providerId="LiveId" clId="{EE705D2C-F7EB-6644-A447-CE069A303EEA}" dt="2023-11-27T15:02:25.559" v="1866" actId="478"/>
          <ac:grpSpMkLst>
            <pc:docMk/>
            <pc:sldMk cId="2541051548" sldId="289"/>
            <ac:grpSpMk id="1166" creationId="{8CA184C5-DD84-6660-263F-6CF564823CC4}"/>
          </ac:grpSpMkLst>
        </pc:grpChg>
        <pc:picChg chg="add mod">
          <ac:chgData name="Jaspreet Kalsi" userId="6f701f51b128fcbf" providerId="LiveId" clId="{EE705D2C-F7EB-6644-A447-CE069A303EEA}" dt="2023-11-27T15:03:47.093" v="1876" actId="1076"/>
          <ac:picMkLst>
            <pc:docMk/>
            <pc:sldMk cId="2541051548" sldId="289"/>
            <ac:picMk id="7" creationId="{CEE3E469-DAC9-5C74-3768-38046DBAE01C}"/>
          </ac:picMkLst>
        </pc:picChg>
        <pc:picChg chg="add mod">
          <ac:chgData name="Jaspreet Kalsi" userId="6f701f51b128fcbf" providerId="LiveId" clId="{EE705D2C-F7EB-6644-A447-CE069A303EEA}" dt="2023-11-27T15:03:57.244" v="1879" actId="14100"/>
          <ac:picMkLst>
            <pc:docMk/>
            <pc:sldMk cId="2541051548" sldId="289"/>
            <ac:picMk id="28" creationId="{41CF3ADF-BD4D-7EA7-4536-F7D99336FD7E}"/>
          </ac:picMkLst>
        </pc:picChg>
        <pc:cxnChg chg="mod">
          <ac:chgData name="Jaspreet Kalsi" userId="6f701f51b128fcbf" providerId="LiveId" clId="{EE705D2C-F7EB-6644-A447-CE069A303EEA}" dt="2023-11-27T15:18:51.691" v="3037"/>
          <ac:cxnSpMkLst>
            <pc:docMk/>
            <pc:sldMk cId="2541051548" sldId="289"/>
            <ac:cxnSpMk id="56" creationId="{3A90EB06-9DA7-43ED-E1E6-78EC3E031C76}"/>
          </ac:cxnSpMkLst>
        </pc:cxnChg>
        <pc:cxnChg chg="mod">
          <ac:chgData name="Jaspreet Kalsi" userId="6f701f51b128fcbf" providerId="LiveId" clId="{EE705D2C-F7EB-6644-A447-CE069A303EEA}" dt="2023-11-27T15:18:51.691" v="3037"/>
          <ac:cxnSpMkLst>
            <pc:docMk/>
            <pc:sldMk cId="2541051548" sldId="289"/>
            <ac:cxnSpMk id="57" creationId="{B365B1B3-634A-F53C-0964-9B8FFACB9C02}"/>
          </ac:cxnSpMkLst>
        </pc:cxnChg>
        <pc:cxnChg chg="mod">
          <ac:chgData name="Jaspreet Kalsi" userId="6f701f51b128fcbf" providerId="LiveId" clId="{EE705D2C-F7EB-6644-A447-CE069A303EEA}" dt="2023-11-27T15:18:51.691" v="3037"/>
          <ac:cxnSpMkLst>
            <pc:docMk/>
            <pc:sldMk cId="2541051548" sldId="289"/>
            <ac:cxnSpMk id="60" creationId="{55F821C5-1C77-4822-45A1-373A8D372BF6}"/>
          </ac:cxnSpMkLst>
        </pc:cxnChg>
      </pc:sldChg>
      <pc:sldChg chg="addSp delSp modSp add mod">
        <pc:chgData name="Jaspreet Kalsi" userId="6f701f51b128fcbf" providerId="LiveId" clId="{EE705D2C-F7EB-6644-A447-CE069A303EEA}" dt="2023-11-27T18:37:46.139" v="5982" actId="1076"/>
        <pc:sldMkLst>
          <pc:docMk/>
          <pc:sldMk cId="2603648331" sldId="290"/>
        </pc:sldMkLst>
        <pc:spChg chg="mod">
          <ac:chgData name="Jaspreet Kalsi" userId="6f701f51b128fcbf" providerId="LiveId" clId="{EE705D2C-F7EB-6644-A447-CE069A303EEA}" dt="2023-11-27T15:24:05.379" v="3523" actId="20577"/>
          <ac:spMkLst>
            <pc:docMk/>
            <pc:sldMk cId="2603648331" sldId="290"/>
            <ac:spMk id="18" creationId="{355AC3A1-175C-0DC3-DBAF-F626A9F3780A}"/>
          </ac:spMkLst>
        </pc:spChg>
        <pc:spChg chg="add mod">
          <ac:chgData name="Jaspreet Kalsi" userId="6f701f51b128fcbf" providerId="LiveId" clId="{EE705D2C-F7EB-6644-A447-CE069A303EEA}" dt="2023-11-27T15:13:27.541" v="2489" actId="1036"/>
          <ac:spMkLst>
            <pc:docMk/>
            <pc:sldMk cId="2603648331" sldId="290"/>
            <ac:spMk id="30" creationId="{4FCE5A30-ECAD-DA4D-D395-CD4E9FCB57F7}"/>
          </ac:spMkLst>
        </pc:spChg>
        <pc:spChg chg="add del mod">
          <ac:chgData name="Jaspreet Kalsi" userId="6f701f51b128fcbf" providerId="LiveId" clId="{EE705D2C-F7EB-6644-A447-CE069A303EEA}" dt="2023-11-27T18:11:25.544" v="4898" actId="478"/>
          <ac:spMkLst>
            <pc:docMk/>
            <pc:sldMk cId="2603648331" sldId="290"/>
            <ac:spMk id="33" creationId="{62B86C62-2AD3-866E-6D5D-1A8B9F40E54D}"/>
          </ac:spMkLst>
        </pc:spChg>
        <pc:spChg chg="add mod">
          <ac:chgData name="Jaspreet Kalsi" userId="6f701f51b128fcbf" providerId="LiveId" clId="{EE705D2C-F7EB-6644-A447-CE069A303EEA}" dt="2023-11-27T18:37:46.139" v="5982" actId="1076"/>
          <ac:spMkLst>
            <pc:docMk/>
            <pc:sldMk cId="2603648331" sldId="290"/>
            <ac:spMk id="40" creationId="{EA194BDE-15A7-2E7A-4691-5C8E812C82DF}"/>
          </ac:spMkLst>
        </pc:spChg>
        <pc:spChg chg="mod">
          <ac:chgData name="Jaspreet Kalsi" userId="6f701f51b128fcbf" providerId="LiveId" clId="{EE705D2C-F7EB-6644-A447-CE069A303EEA}" dt="2023-11-27T15:13:16.222" v="2402" actId="1035"/>
          <ac:spMkLst>
            <pc:docMk/>
            <pc:sldMk cId="2603648331" sldId="290"/>
            <ac:spMk id="46" creationId="{994A00AD-1437-DA57-D8B0-9A644A8EEFB1}"/>
          </ac:spMkLst>
        </pc:spChg>
        <pc:spChg chg="mod">
          <ac:chgData name="Jaspreet Kalsi" userId="6f701f51b128fcbf" providerId="LiveId" clId="{EE705D2C-F7EB-6644-A447-CE069A303EEA}" dt="2023-11-27T15:24:12.454" v="3534" actId="20577"/>
          <ac:spMkLst>
            <pc:docMk/>
            <pc:sldMk cId="2603648331" sldId="290"/>
            <ac:spMk id="59" creationId="{0084DDBB-2CC3-5D6C-15EE-729122A3D525}"/>
          </ac:spMkLst>
        </pc:spChg>
        <pc:grpChg chg="del">
          <ac:chgData name="Jaspreet Kalsi" userId="6f701f51b128fcbf" providerId="LiveId" clId="{EE705D2C-F7EB-6644-A447-CE069A303EEA}" dt="2023-11-27T15:12:53.246" v="2376" actId="478"/>
          <ac:grpSpMkLst>
            <pc:docMk/>
            <pc:sldMk cId="2603648331" sldId="290"/>
            <ac:grpSpMk id="1160" creationId="{4AF9C556-3BA0-23C3-1FAA-BEAE7FC117BC}"/>
          </ac:grpSpMkLst>
        </pc:grpChg>
        <pc:grpChg chg="del">
          <ac:chgData name="Jaspreet Kalsi" userId="6f701f51b128fcbf" providerId="LiveId" clId="{EE705D2C-F7EB-6644-A447-CE069A303EEA}" dt="2023-11-27T18:11:31.678" v="4900" actId="478"/>
          <ac:grpSpMkLst>
            <pc:docMk/>
            <pc:sldMk cId="2603648331" sldId="290"/>
            <ac:grpSpMk id="1166" creationId="{8CA184C5-DD84-6660-263F-6CF564823CC4}"/>
          </ac:grpSpMkLst>
        </pc:grpChg>
        <pc:picChg chg="add mod">
          <ac:chgData name="Jaspreet Kalsi" userId="6f701f51b128fcbf" providerId="LiveId" clId="{EE705D2C-F7EB-6644-A447-CE069A303EEA}" dt="2023-11-27T15:12:42.653" v="2372" actId="14100"/>
          <ac:picMkLst>
            <pc:docMk/>
            <pc:sldMk cId="2603648331" sldId="290"/>
            <ac:picMk id="7" creationId="{2C0D91C6-5423-CAFA-5C36-888A28458149}"/>
          </ac:picMkLst>
        </pc:picChg>
        <pc:picChg chg="add del mod">
          <ac:chgData name="Jaspreet Kalsi" userId="6f701f51b128fcbf" providerId="LiveId" clId="{EE705D2C-F7EB-6644-A447-CE069A303EEA}" dt="2023-11-27T18:10:20.480" v="4887" actId="478"/>
          <ac:picMkLst>
            <pc:docMk/>
            <pc:sldMk cId="2603648331" sldId="290"/>
            <ac:picMk id="10" creationId="{9512DE2E-2340-57F4-A7A8-1F1D6D2A97D9}"/>
          </ac:picMkLst>
        </pc:picChg>
        <pc:picChg chg="add mod">
          <ac:chgData name="Jaspreet Kalsi" userId="6f701f51b128fcbf" providerId="LiveId" clId="{EE705D2C-F7EB-6644-A447-CE069A303EEA}" dt="2023-11-27T15:12:47.468" v="2373" actId="1076"/>
          <ac:picMkLst>
            <pc:docMk/>
            <pc:sldMk cId="2603648331" sldId="290"/>
            <ac:picMk id="28" creationId="{E231F760-A7A0-2410-E4E7-CFA2A13CF315}"/>
          </ac:picMkLst>
        </pc:picChg>
        <pc:picChg chg="add mod">
          <ac:chgData name="Jaspreet Kalsi" userId="6f701f51b128fcbf" providerId="LiveId" clId="{EE705D2C-F7EB-6644-A447-CE069A303EEA}" dt="2023-11-27T15:13:09.782" v="2380" actId="14100"/>
          <ac:picMkLst>
            <pc:docMk/>
            <pc:sldMk cId="2603648331" sldId="290"/>
            <ac:picMk id="29" creationId="{E5270374-0A3D-3FE2-2C03-A17D708AF113}"/>
          </ac:picMkLst>
        </pc:picChg>
        <pc:picChg chg="add mod">
          <ac:chgData name="Jaspreet Kalsi" userId="6f701f51b128fcbf" providerId="LiveId" clId="{EE705D2C-F7EB-6644-A447-CE069A303EEA}" dt="2023-11-27T18:11:42.888" v="4901" actId="1076"/>
          <ac:picMkLst>
            <pc:docMk/>
            <pc:sldMk cId="2603648331" sldId="290"/>
            <ac:picMk id="37" creationId="{2F65035C-2910-65DF-5428-B63D4F7022F0}"/>
          </ac:picMkLst>
        </pc:picChg>
        <pc:cxnChg chg="del">
          <ac:chgData name="Jaspreet Kalsi" userId="6f701f51b128fcbf" providerId="LiveId" clId="{EE705D2C-F7EB-6644-A447-CE069A303EEA}" dt="2023-11-27T15:12:57.809" v="2377" actId="478"/>
          <ac:cxnSpMkLst>
            <pc:docMk/>
            <pc:sldMk cId="2603648331" sldId="290"/>
            <ac:cxnSpMk id="1165" creationId="{23E0C8F3-2675-3AE1-597A-EE6230452B57}"/>
          </ac:cxnSpMkLst>
        </pc:cxnChg>
      </pc:sldChg>
      <pc:sldChg chg="addSp delSp modSp add mod">
        <pc:chgData name="Jaspreet Kalsi" userId="6f701f51b128fcbf" providerId="LiveId" clId="{EE705D2C-F7EB-6644-A447-CE069A303EEA}" dt="2023-11-27T18:43:13.222" v="6091" actId="1038"/>
        <pc:sldMkLst>
          <pc:docMk/>
          <pc:sldMk cId="187893568" sldId="291"/>
        </pc:sldMkLst>
        <pc:spChg chg="add mod">
          <ac:chgData name="Jaspreet Kalsi" userId="6f701f51b128fcbf" providerId="LiveId" clId="{EE705D2C-F7EB-6644-A447-CE069A303EEA}" dt="2023-11-27T18:09:17.339" v="4886" actId="20577"/>
          <ac:spMkLst>
            <pc:docMk/>
            <pc:sldMk cId="187893568" sldId="291"/>
            <ac:spMk id="10" creationId="{65507E20-28D7-3160-FA9E-771AA7BA7047}"/>
          </ac:spMkLst>
        </pc:spChg>
        <pc:spChg chg="mod">
          <ac:chgData name="Jaspreet Kalsi" userId="6f701f51b128fcbf" providerId="LiveId" clId="{EE705D2C-F7EB-6644-A447-CE069A303EEA}" dt="2023-11-27T15:22:03.680" v="3408" actId="20577"/>
          <ac:spMkLst>
            <pc:docMk/>
            <pc:sldMk cId="187893568" sldId="291"/>
            <ac:spMk id="18" creationId="{355AC3A1-175C-0DC3-DBAF-F626A9F3780A}"/>
          </ac:spMkLst>
        </pc:spChg>
        <pc:spChg chg="del">
          <ac:chgData name="Jaspreet Kalsi" userId="6f701f51b128fcbf" providerId="LiveId" clId="{EE705D2C-F7EB-6644-A447-CE069A303EEA}" dt="2023-11-27T15:10:59.208" v="2333" actId="478"/>
          <ac:spMkLst>
            <pc:docMk/>
            <pc:sldMk cId="187893568" sldId="291"/>
            <ac:spMk id="41" creationId="{8D40B542-B96D-DDA7-C265-DF105A2A5899}"/>
          </ac:spMkLst>
        </pc:spChg>
        <pc:spChg chg="mod">
          <ac:chgData name="Jaspreet Kalsi" userId="6f701f51b128fcbf" providerId="LiveId" clId="{EE705D2C-F7EB-6644-A447-CE069A303EEA}" dt="2023-11-27T18:43:13.222" v="6091" actId="1038"/>
          <ac:spMkLst>
            <pc:docMk/>
            <pc:sldMk cId="187893568" sldId="291"/>
            <ac:spMk id="46" creationId="{994A00AD-1437-DA57-D8B0-9A644A8EEFB1}"/>
          </ac:spMkLst>
        </pc:spChg>
        <pc:spChg chg="mod">
          <ac:chgData name="Jaspreet Kalsi" userId="6f701f51b128fcbf" providerId="LiveId" clId="{EE705D2C-F7EB-6644-A447-CE069A303EEA}" dt="2023-11-27T15:23:52.626" v="3511" actId="20577"/>
          <ac:spMkLst>
            <pc:docMk/>
            <pc:sldMk cId="187893568" sldId="291"/>
            <ac:spMk id="59" creationId="{0084DDBB-2CC3-5D6C-15EE-729122A3D525}"/>
          </ac:spMkLst>
        </pc:spChg>
        <pc:grpChg chg="del">
          <ac:chgData name="Jaspreet Kalsi" userId="6f701f51b128fcbf" providerId="LiveId" clId="{EE705D2C-F7EB-6644-A447-CE069A303EEA}" dt="2023-11-27T18:07:58.858" v="4697" actId="478"/>
          <ac:grpSpMkLst>
            <pc:docMk/>
            <pc:sldMk cId="187893568" sldId="291"/>
            <ac:grpSpMk id="1166" creationId="{8CA184C5-DD84-6660-263F-6CF564823CC4}"/>
          </ac:grpSpMkLst>
        </pc:grpChg>
        <pc:picChg chg="add mod">
          <ac:chgData name="Jaspreet Kalsi" userId="6f701f51b128fcbf" providerId="LiveId" clId="{EE705D2C-F7EB-6644-A447-CE069A303EEA}" dt="2023-11-27T18:42:31.136" v="6062" actId="14100"/>
          <ac:picMkLst>
            <pc:docMk/>
            <pc:sldMk cId="187893568" sldId="291"/>
            <ac:picMk id="7" creationId="{7321459A-60E1-15DA-19E0-FAAB9F85029D}"/>
          </ac:picMkLst>
        </pc:picChg>
      </pc:sldChg>
      <pc:sldChg chg="addSp delSp modSp add mod ord">
        <pc:chgData name="Jaspreet Kalsi" userId="6f701f51b128fcbf" providerId="LiveId" clId="{EE705D2C-F7EB-6644-A447-CE069A303EEA}" dt="2023-11-27T18:14:05.912" v="5169" actId="20577"/>
        <pc:sldMkLst>
          <pc:docMk/>
          <pc:sldMk cId="1415940453" sldId="292"/>
        </pc:sldMkLst>
        <pc:spChg chg="mod">
          <ac:chgData name="Jaspreet Kalsi" userId="6f701f51b128fcbf" providerId="LiveId" clId="{EE705D2C-F7EB-6644-A447-CE069A303EEA}" dt="2023-11-27T15:24:26.054" v="3552" actId="20577"/>
          <ac:spMkLst>
            <pc:docMk/>
            <pc:sldMk cId="1415940453" sldId="292"/>
            <ac:spMk id="18" creationId="{355AC3A1-175C-0DC3-DBAF-F626A9F3780A}"/>
          </ac:spMkLst>
        </pc:spChg>
        <pc:spChg chg="add mod">
          <ac:chgData name="Jaspreet Kalsi" userId="6f701f51b128fcbf" providerId="LiveId" clId="{EE705D2C-F7EB-6644-A447-CE069A303EEA}" dt="2023-11-27T15:17:14.953" v="2906"/>
          <ac:spMkLst>
            <pc:docMk/>
            <pc:sldMk cId="1415940453" sldId="292"/>
            <ac:spMk id="29" creationId="{F0EEE78D-8A7D-0DF7-B694-966F90E1E740}"/>
          </ac:spMkLst>
        </pc:spChg>
        <pc:spChg chg="add mod">
          <ac:chgData name="Jaspreet Kalsi" userId="6f701f51b128fcbf" providerId="LiveId" clId="{EE705D2C-F7EB-6644-A447-CE069A303EEA}" dt="2023-11-27T15:17:43.436" v="3031" actId="1036"/>
          <ac:spMkLst>
            <pc:docMk/>
            <pc:sldMk cId="1415940453" sldId="292"/>
            <ac:spMk id="30" creationId="{70098AD8-98A4-E7B7-7215-F15930034F40}"/>
          </ac:spMkLst>
        </pc:spChg>
        <pc:spChg chg="add mod">
          <ac:chgData name="Jaspreet Kalsi" userId="6f701f51b128fcbf" providerId="LiveId" clId="{EE705D2C-F7EB-6644-A447-CE069A303EEA}" dt="2023-11-27T18:14:05.912" v="5169" actId="20577"/>
          <ac:spMkLst>
            <pc:docMk/>
            <pc:sldMk cId="1415940453" sldId="292"/>
            <ac:spMk id="33" creationId="{6C1BF99C-DD70-350E-245A-01E35F56D1A4}"/>
          </ac:spMkLst>
        </pc:spChg>
        <pc:spChg chg="del mod">
          <ac:chgData name="Jaspreet Kalsi" userId="6f701f51b128fcbf" providerId="LiveId" clId="{EE705D2C-F7EB-6644-A447-CE069A303EEA}" dt="2023-11-27T15:17:13.263" v="2905" actId="21"/>
          <ac:spMkLst>
            <pc:docMk/>
            <pc:sldMk cId="1415940453" sldId="292"/>
            <ac:spMk id="46" creationId="{994A00AD-1437-DA57-D8B0-9A644A8EEFB1}"/>
          </ac:spMkLst>
        </pc:spChg>
        <pc:spChg chg="mod">
          <ac:chgData name="Jaspreet Kalsi" userId="6f701f51b128fcbf" providerId="LiveId" clId="{EE705D2C-F7EB-6644-A447-CE069A303EEA}" dt="2023-11-27T15:24:34.424" v="3566" actId="20577"/>
          <ac:spMkLst>
            <pc:docMk/>
            <pc:sldMk cId="1415940453" sldId="292"/>
            <ac:spMk id="59" creationId="{0084DDBB-2CC3-5D6C-15EE-729122A3D525}"/>
          </ac:spMkLst>
        </pc:spChg>
        <pc:grpChg chg="del">
          <ac:chgData name="Jaspreet Kalsi" userId="6f701f51b128fcbf" providerId="LiveId" clId="{EE705D2C-F7EB-6644-A447-CE069A303EEA}" dt="2023-11-27T18:11:54.744" v="4902" actId="478"/>
          <ac:grpSpMkLst>
            <pc:docMk/>
            <pc:sldMk cId="1415940453" sldId="292"/>
            <ac:grpSpMk id="1166" creationId="{8CA184C5-DD84-6660-263F-6CF564823CC4}"/>
          </ac:grpSpMkLst>
        </pc:grpChg>
        <pc:picChg chg="del">
          <ac:chgData name="Jaspreet Kalsi" userId="6f701f51b128fcbf" providerId="LiveId" clId="{EE705D2C-F7EB-6644-A447-CE069A303EEA}" dt="2023-11-27T15:14:20.408" v="2541" actId="478"/>
          <ac:picMkLst>
            <pc:docMk/>
            <pc:sldMk cId="1415940453" sldId="292"/>
            <ac:picMk id="7" creationId="{7321459A-60E1-15DA-19E0-FAAB9F85029D}"/>
          </ac:picMkLst>
        </pc:picChg>
        <pc:picChg chg="add mod">
          <ac:chgData name="Jaspreet Kalsi" userId="6f701f51b128fcbf" providerId="LiveId" clId="{EE705D2C-F7EB-6644-A447-CE069A303EEA}" dt="2023-11-27T15:16:58.059" v="2900" actId="1076"/>
          <ac:picMkLst>
            <pc:docMk/>
            <pc:sldMk cId="1415940453" sldId="292"/>
            <ac:picMk id="10" creationId="{92B1CA86-3CC2-A837-E281-3BBF8A60DCC9}"/>
          </ac:picMkLst>
        </pc:picChg>
        <pc:picChg chg="add mod">
          <ac:chgData name="Jaspreet Kalsi" userId="6f701f51b128fcbf" providerId="LiveId" clId="{EE705D2C-F7EB-6644-A447-CE069A303EEA}" dt="2023-11-27T15:17:10.945" v="2904" actId="1076"/>
          <ac:picMkLst>
            <pc:docMk/>
            <pc:sldMk cId="1415940453" sldId="292"/>
            <ac:picMk id="28" creationId="{906CB483-FC5C-6987-720D-213270B7A4E1}"/>
          </ac:picMkLst>
        </pc:picChg>
      </pc:sldChg>
      <pc:sldChg chg="addSp delSp modSp new mod setBg">
        <pc:chgData name="Jaspreet Kalsi" userId="6f701f51b128fcbf" providerId="LiveId" clId="{EE705D2C-F7EB-6644-A447-CE069A303EEA}" dt="2023-11-27T17:55:23.203" v="3621" actId="207"/>
        <pc:sldMkLst>
          <pc:docMk/>
          <pc:sldMk cId="3108463060" sldId="293"/>
        </pc:sldMkLst>
        <pc:spChg chg="del mod">
          <ac:chgData name="Jaspreet Kalsi" userId="6f701f51b128fcbf" providerId="LiveId" clId="{EE705D2C-F7EB-6644-A447-CE069A303EEA}" dt="2023-11-27T17:50:14.150" v="3571" actId="478"/>
          <ac:spMkLst>
            <pc:docMk/>
            <pc:sldMk cId="3108463060" sldId="293"/>
            <ac:spMk id="2" creationId="{9B6BF840-4503-3BC4-C368-D58306E4E236}"/>
          </ac:spMkLst>
        </pc:spChg>
        <pc:spChg chg="add mod">
          <ac:chgData name="Jaspreet Kalsi" userId="6f701f51b128fcbf" providerId="LiveId" clId="{EE705D2C-F7EB-6644-A447-CE069A303EEA}" dt="2023-11-27T17:55:23.203" v="3621" actId="207"/>
          <ac:spMkLst>
            <pc:docMk/>
            <pc:sldMk cId="3108463060" sldId="293"/>
            <ac:spMk id="10" creationId="{26D311AF-447F-F5B9-576E-B687D40CE2F8}"/>
          </ac:spMkLst>
        </pc:spChg>
        <pc:spChg chg="add mod">
          <ac:chgData name="Jaspreet Kalsi" userId="6f701f51b128fcbf" providerId="LiveId" clId="{EE705D2C-F7EB-6644-A447-CE069A303EEA}" dt="2023-11-27T17:55:23.203" v="3621" actId="207"/>
          <ac:spMkLst>
            <pc:docMk/>
            <pc:sldMk cId="3108463060" sldId="293"/>
            <ac:spMk id="11" creationId="{727AADEE-5566-6F8E-0563-918678B09671}"/>
          </ac:spMkLst>
        </pc:spChg>
        <pc:spChg chg="add mod">
          <ac:chgData name="Jaspreet Kalsi" userId="6f701f51b128fcbf" providerId="LiveId" clId="{EE705D2C-F7EB-6644-A447-CE069A303EEA}" dt="2023-11-27T17:55:23.203" v="3621" actId="207"/>
          <ac:spMkLst>
            <pc:docMk/>
            <pc:sldMk cId="3108463060" sldId="293"/>
            <ac:spMk id="12" creationId="{64A79B6C-2132-33B5-8DCA-4B0818FA1C6D}"/>
          </ac:spMkLst>
        </pc:spChg>
        <pc:spChg chg="add mod">
          <ac:chgData name="Jaspreet Kalsi" userId="6f701f51b128fcbf" providerId="LiveId" clId="{EE705D2C-F7EB-6644-A447-CE069A303EEA}" dt="2023-11-27T17:55:23.203" v="3621" actId="207"/>
          <ac:spMkLst>
            <pc:docMk/>
            <pc:sldMk cId="3108463060" sldId="293"/>
            <ac:spMk id="13" creationId="{B60E8552-BA75-C749-7F3E-ED949B9BCD91}"/>
          </ac:spMkLst>
        </pc:spChg>
        <pc:spChg chg="add mod">
          <ac:chgData name="Jaspreet Kalsi" userId="6f701f51b128fcbf" providerId="LiveId" clId="{EE705D2C-F7EB-6644-A447-CE069A303EEA}" dt="2023-11-27T17:55:23.203" v="3621" actId="207"/>
          <ac:spMkLst>
            <pc:docMk/>
            <pc:sldMk cId="3108463060" sldId="293"/>
            <ac:spMk id="14" creationId="{29AE03D6-9AB1-1506-575B-60318B894A9D}"/>
          </ac:spMkLst>
        </pc:spChg>
        <pc:spChg chg="add mod">
          <ac:chgData name="Jaspreet Kalsi" userId="6f701f51b128fcbf" providerId="LiveId" clId="{EE705D2C-F7EB-6644-A447-CE069A303EEA}" dt="2023-11-27T17:55:23.203" v="3621" actId="207"/>
          <ac:spMkLst>
            <pc:docMk/>
            <pc:sldMk cId="3108463060" sldId="293"/>
            <ac:spMk id="15" creationId="{F8F6C176-5D66-A537-0355-1FF98FB28183}"/>
          </ac:spMkLst>
        </pc:spChg>
        <pc:picChg chg="add mod">
          <ac:chgData name="Jaspreet Kalsi" userId="6f701f51b128fcbf" providerId="LiveId" clId="{EE705D2C-F7EB-6644-A447-CE069A303EEA}" dt="2023-11-27T17:51:10.986" v="3573" actId="1076"/>
          <ac:picMkLst>
            <pc:docMk/>
            <pc:sldMk cId="3108463060" sldId="293"/>
            <ac:picMk id="3" creationId="{7CF4A81E-0F2D-BF22-7F37-CB296CD25339}"/>
          </ac:picMkLst>
        </pc:picChg>
        <pc:picChg chg="add mod">
          <ac:chgData name="Jaspreet Kalsi" userId="6f701f51b128fcbf" providerId="LiveId" clId="{EE705D2C-F7EB-6644-A447-CE069A303EEA}" dt="2023-11-27T17:51:20.857" v="3576" actId="1076"/>
          <ac:picMkLst>
            <pc:docMk/>
            <pc:sldMk cId="3108463060" sldId="293"/>
            <ac:picMk id="4" creationId="{DDCAB85A-73EA-012F-6AAC-1FBB3DAA7947}"/>
          </ac:picMkLst>
        </pc:picChg>
        <pc:picChg chg="add mod">
          <ac:chgData name="Jaspreet Kalsi" userId="6f701f51b128fcbf" providerId="LiveId" clId="{EE705D2C-F7EB-6644-A447-CE069A303EEA}" dt="2023-11-27T17:51:29.795" v="3578" actId="1076"/>
          <ac:picMkLst>
            <pc:docMk/>
            <pc:sldMk cId="3108463060" sldId="293"/>
            <ac:picMk id="5" creationId="{C748225C-6221-3DE5-1D4F-00977EC55186}"/>
          </ac:picMkLst>
        </pc:picChg>
        <pc:picChg chg="add mod">
          <ac:chgData name="Jaspreet Kalsi" userId="6f701f51b128fcbf" providerId="LiveId" clId="{EE705D2C-F7EB-6644-A447-CE069A303EEA}" dt="2023-11-27T17:51:42.569" v="3580" actId="1076"/>
          <ac:picMkLst>
            <pc:docMk/>
            <pc:sldMk cId="3108463060" sldId="293"/>
            <ac:picMk id="6" creationId="{C82096AE-CCE2-A911-9F93-B7E410D071D9}"/>
          </ac:picMkLst>
        </pc:picChg>
        <pc:picChg chg="add mod">
          <ac:chgData name="Jaspreet Kalsi" userId="6f701f51b128fcbf" providerId="LiveId" clId="{EE705D2C-F7EB-6644-A447-CE069A303EEA}" dt="2023-11-27T17:51:56.423" v="3583" actId="1076"/>
          <ac:picMkLst>
            <pc:docMk/>
            <pc:sldMk cId="3108463060" sldId="293"/>
            <ac:picMk id="7" creationId="{51253469-3FCB-B650-BDDC-54E21F4AFAA2}"/>
          </ac:picMkLst>
        </pc:picChg>
        <pc:picChg chg="add mod">
          <ac:chgData name="Jaspreet Kalsi" userId="6f701f51b128fcbf" providerId="LiveId" clId="{EE705D2C-F7EB-6644-A447-CE069A303EEA}" dt="2023-11-27T17:52:06.764" v="3585" actId="1076"/>
          <ac:picMkLst>
            <pc:docMk/>
            <pc:sldMk cId="3108463060" sldId="293"/>
            <ac:picMk id="8" creationId="{78A459FA-9EEA-8AB2-BBCC-2EA0FAA2EB39}"/>
          </ac:picMkLst>
        </pc:picChg>
        <pc:picChg chg="add mod">
          <ac:chgData name="Jaspreet Kalsi" userId="6f701f51b128fcbf" providerId="LiveId" clId="{EE705D2C-F7EB-6644-A447-CE069A303EEA}" dt="2023-11-27T17:52:36.255" v="3587" actId="1076"/>
          <ac:picMkLst>
            <pc:docMk/>
            <pc:sldMk cId="3108463060" sldId="293"/>
            <ac:picMk id="9" creationId="{C1640F84-52E4-C87D-0903-6DB90F662D7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DE6012-1BD2-423A-B783-8C352B9F1F3A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EDCF92-708B-42BD-8680-DB4A1F579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653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4072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1641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222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175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7184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33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974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4515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5383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7988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973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BA3804-116A-593A-9926-13C4F9996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4CFECD-2E63-38F8-9058-19CF0FA55C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723B3F-55A5-BED3-F7EA-8545E4A87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9BE5EB-25AD-92D6-5BB0-5B7CA419C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798E25-5FA8-D9D7-8A9A-409230024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3997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C7DA9-C965-0040-A5D8-E8D946BCA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35E157-4AA1-F608-CB52-82001F529D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CD316-EA07-E121-FACF-A6A16B4A7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252073-B009-B6FB-9A0C-EFFE3E55B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F6484-D1A2-AA04-7D5B-6C4CB25EE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9113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C3D4A07-D9A6-DAF1-3CCD-1989D4013A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677080-F720-4FDB-B5D3-945225EAF9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8042C-D186-F0B1-DC55-CA5D47D39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6E73D2-E70F-A7F8-F214-B73E40BF3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77E048-5A3B-A13D-A099-F5C8B2101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1647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407B1E-6427-4C34-9A89-1E8A6754B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2A01C-61EC-4D49-878D-066848BDDCD0}" type="datetimeFigureOut">
              <a:rPr lang="en-ID" smtClean="0"/>
              <a:t>25/11/23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5E90D4-8C75-4436-BFAA-F71273A4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2F622D-A25F-4DC1-9B66-12C9945E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12041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D4DD3-678E-4AFD-A40F-E4DACEA77179}" type="datetime1">
              <a:rPr lang="en-US" smtClean="0"/>
              <a:t>11/2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0D0FF3-A2B2-493D-8FE0-A9B0D0F67B95}"/>
              </a:ext>
            </a:extLst>
          </p:cNvPr>
          <p:cNvSpPr/>
          <p:nvPr userDrawn="1"/>
        </p:nvSpPr>
        <p:spPr>
          <a:xfrm>
            <a:off x="10223500" y="6356350"/>
            <a:ext cx="1968500" cy="501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ED446B-6B6E-4F72-A142-4F2CFE0B7463}"/>
              </a:ext>
            </a:extLst>
          </p:cNvPr>
          <p:cNvSpPr/>
          <p:nvPr userDrawn="1"/>
        </p:nvSpPr>
        <p:spPr>
          <a:xfrm>
            <a:off x="215900" y="196850"/>
            <a:ext cx="11760200" cy="64643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179AD8-EB94-48B9-85DE-CEB8A1CAEB16}"/>
              </a:ext>
            </a:extLst>
          </p:cNvPr>
          <p:cNvSpPr/>
          <p:nvPr userDrawn="1"/>
        </p:nvSpPr>
        <p:spPr>
          <a:xfrm>
            <a:off x="584200" y="0"/>
            <a:ext cx="292100" cy="1206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34733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7B937-C3F4-F051-E056-F10DACC15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022A3-1CA7-E45D-19A4-E7F3AB1DA2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E3C8E6-47E2-B3A9-EB6A-BA474DDF6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2AA51-C5A2-AAFC-C759-524AC0587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A6747-8976-58AD-FBD8-315C35CDF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485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0C816-8050-44E0-0B50-7928C4772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8D957-3BCD-649A-845F-D45CB4607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2B80FE-88B7-1D16-4322-AF08BDD34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B78BA6-EF04-9698-C62A-1CE934987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9797AC-5E45-6C15-0EEC-3056E5340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3809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44201-438F-65A7-9B70-731DBAD71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D1E9C-B535-CE07-8402-0B97E0FD06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9AFE8C-2A7E-4C91-58EA-868541A5BF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D709D-F446-5949-6722-999DBE8C1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C9DEE2-A2B7-0EB1-5C30-29210953F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E58A0-0161-234A-7D09-E1E4E37DD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885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C7B6-683F-5937-3461-742A623E3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6FF785-7790-C63E-D448-050BE460C3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CA74ED-DF82-2F2A-FE20-7429BB6789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87A19B-E0B0-1637-C122-AC945A8A41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026800-92A6-41A2-A970-45FFFDB249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091ED1-4695-FE72-FC9A-3AEE4ED08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B3B6345-F50D-4938-9DDD-395D85897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B93662-0A60-8302-6B99-B1167B216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598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97CB3-F5F6-A2F0-3555-B06BBF4D9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CB5CDB-D9BA-A241-BD1C-A8201BD03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597C7E-14DE-A920-6F42-F3FFE31A2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83B9D2-3446-AEF6-5AD2-640892003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3838" y="6356350"/>
            <a:ext cx="2743200" cy="365125"/>
          </a:xfrm>
        </p:spPr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370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FFD666-9BD8-5EEE-E9C3-4FD0D3CD8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E2114-85C1-A43D-BAEB-07894EB3C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98E82B-2455-0335-5EB9-C55587B40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5891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B5EBF-888B-DB8B-76AB-45C980EB0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233736-DD60-FF09-2346-3CD6F49771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88A7EA-1063-5961-62A7-2BF568B976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32E3C8-F431-345C-1C58-CD5B8B327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13D2B2-A4B5-DE06-1229-098C8B7F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A6BE5-565A-32F0-5FB1-9F6AA9A5B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209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FD19E-BE4B-6BEE-53AE-7406D4BB3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38382F7-6C8D-7849-8F47-E6DC0665C0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0F105-DECE-3555-A4BC-217F969913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D0377F-9182-85F2-3E10-B7CE5FFDA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BCC02A-E3B2-1FEA-ADE9-1B54958C1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66DC9-13A0-4178-9542-66A5A7CCC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781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E26476-4B52-8E75-7F4F-4895B8C5D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96863"/>
            <a:ext cx="11522075" cy="1150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06F6C-5E13-259C-8F43-C175A46F9F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71D0D-1DF4-3A74-6EB6-8874D7CA60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85A3C5-C84E-4FAD-9AAC-6508D1A5CE25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73940D-1EDB-80BA-AC24-A06B26EBB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02402-0D43-1859-F7EC-DEA6B56D2F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A11648-5179-F6E5-DB6F-C2BABFE0493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76470"/>
            <a:ext cx="2906917" cy="800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53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187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53DF03-CD76-4B5A-8EB3-63B382E131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589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853DF03-CD76-4B5A-8EB3-63B382E13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183CDAB-5319-4127-A949-FD374215343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D28C36-06A6-4687-99BA-A709C0EB5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D70-3CB1-4CF2-B956-6C0AF1AA7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440B9-E739-4FE5-9BD0-8C1124717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2A01C-61EC-4D49-878D-066848BDDCD0}" type="datetimeFigureOut">
              <a:rPr lang="en-ID" smtClean="0"/>
              <a:t>25/11/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9059-A5DB-4AFA-87B8-190DB28F7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99BD2-E85E-4D1D-BA49-DDEA0BA69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4021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microsoft.com/office/2007/relationships/hdphoto" Target="../media/hdphoto1.wdp"/><Relationship Id="rId9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11" Type="http://schemas.openxmlformats.org/officeDocument/2006/relationships/image" Target="../media/image37.png"/><Relationship Id="rId5" Type="http://schemas.openxmlformats.org/officeDocument/2006/relationships/image" Target="../media/image9.png"/><Relationship Id="rId10" Type="http://schemas.openxmlformats.org/officeDocument/2006/relationships/image" Target="../media/image36.png"/><Relationship Id="rId4" Type="http://schemas.microsoft.com/office/2007/relationships/hdphoto" Target="../media/hdphoto1.wdp"/><Relationship Id="rId9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40.png"/><Relationship Id="rId4" Type="http://schemas.microsoft.com/office/2007/relationships/hdphoto" Target="../media/hdphoto1.wdp"/><Relationship Id="rId9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microsoft.com/office/2007/relationships/hdphoto" Target="../media/hdphoto1.wdp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11" Type="http://schemas.openxmlformats.org/officeDocument/2006/relationships/image" Target="../media/image16.pn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7.jpe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10" Type="http://schemas.openxmlformats.org/officeDocument/2006/relationships/image" Target="../media/image18.png"/><Relationship Id="rId4" Type="http://schemas.openxmlformats.org/officeDocument/2006/relationships/image" Target="../media/image8.png"/><Relationship Id="rId9" Type="http://schemas.openxmlformats.org/officeDocument/2006/relationships/image" Target="../media/image1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29.png"/><Relationship Id="rId4" Type="http://schemas.microsoft.com/office/2007/relationships/hdphoto" Target="../media/hdphoto1.wdp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11" Type="http://schemas.openxmlformats.org/officeDocument/2006/relationships/image" Target="../media/image32.png"/><Relationship Id="rId5" Type="http://schemas.openxmlformats.org/officeDocument/2006/relationships/image" Target="../media/image9.png"/><Relationship Id="rId10" Type="http://schemas.openxmlformats.org/officeDocument/2006/relationships/image" Target="../media/image31.png"/><Relationship Id="rId4" Type="http://schemas.microsoft.com/office/2007/relationships/hdphoto" Target="../media/hdphoto1.wdp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lock Arc 32">
            <a:extLst>
              <a:ext uri="{FF2B5EF4-FFF2-40B4-BE49-F238E27FC236}">
                <a16:creationId xmlns:a16="http://schemas.microsoft.com/office/drawing/2014/main" id="{2FAB1B89-B0AE-576E-C1B2-E534893E8DAB}"/>
              </a:ext>
            </a:extLst>
          </p:cNvPr>
          <p:cNvSpPr/>
          <p:nvPr/>
        </p:nvSpPr>
        <p:spPr>
          <a:xfrm rot="5400000" flipH="1" flipV="1">
            <a:off x="5837346" y="5049945"/>
            <a:ext cx="1590541" cy="1590541"/>
          </a:xfrm>
          <a:prstGeom prst="blockArc">
            <a:avLst>
              <a:gd name="adj1" fmla="val 5832300"/>
              <a:gd name="adj2" fmla="val 77390"/>
              <a:gd name="adj3" fmla="val 1878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C2C8248-3C6F-1D66-64DA-1AAA19C68A62}"/>
              </a:ext>
            </a:extLst>
          </p:cNvPr>
          <p:cNvSpPr/>
          <p:nvPr/>
        </p:nvSpPr>
        <p:spPr>
          <a:xfrm>
            <a:off x="16892" y="93355"/>
            <a:ext cx="9618562" cy="20718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07C51B-EE8A-7E19-337C-1EF8144E663C}"/>
              </a:ext>
            </a:extLst>
          </p:cNvPr>
          <p:cNvSpPr txBox="1"/>
          <p:nvPr/>
        </p:nvSpPr>
        <p:spPr>
          <a:xfrm>
            <a:off x="333116" y="2326398"/>
            <a:ext cx="5186161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8800" b="1" dirty="0">
                <a:solidFill>
                  <a:srgbClr val="1DB954"/>
                </a:solidFill>
              </a:rPr>
              <a:t>Spotify</a:t>
            </a:r>
            <a:r>
              <a:rPr lang="en-US" sz="8800" b="1" dirty="0">
                <a:solidFill>
                  <a:schemeClr val="bg1"/>
                </a:solidFill>
              </a:rPr>
              <a:t> Songs</a:t>
            </a:r>
            <a:endParaRPr lang="en-US" sz="5400" b="1" dirty="0">
              <a:solidFill>
                <a:schemeClr val="bg1"/>
              </a:solidFill>
            </a:endParaRPr>
          </a:p>
          <a:p>
            <a:pPr>
              <a:spcAft>
                <a:spcPts val="3600"/>
              </a:spcAft>
            </a:pPr>
            <a:endParaRPr lang="en-US" sz="7200" b="1" dirty="0">
              <a:solidFill>
                <a:schemeClr val="bg1"/>
              </a:solidFill>
            </a:endParaRPr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33DF9C08-447A-1313-A46F-71430CC93838}"/>
              </a:ext>
            </a:extLst>
          </p:cNvPr>
          <p:cNvSpPr/>
          <p:nvPr/>
        </p:nvSpPr>
        <p:spPr>
          <a:xfrm>
            <a:off x="6629400" y="0"/>
            <a:ext cx="348996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erson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9F891B18-3D8B-095E-2AA5-A7C7E1D3B1B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46" r="28021" b="17642"/>
          <a:stretch/>
        </p:blipFill>
        <p:spPr>
          <a:xfrm>
            <a:off x="6065520" y="-274320"/>
            <a:ext cx="6109588" cy="713232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E4E7984-497A-6366-05D4-C73F944B01C3}"/>
              </a:ext>
            </a:extLst>
          </p:cNvPr>
          <p:cNvGrpSpPr/>
          <p:nvPr/>
        </p:nvGrpSpPr>
        <p:grpSpPr>
          <a:xfrm rot="20212618">
            <a:off x="6783050" y="3105332"/>
            <a:ext cx="654942" cy="680132"/>
            <a:chOff x="6714281" y="3033918"/>
            <a:chExt cx="792480" cy="82296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2EDBB0C-C99E-63F6-0A3C-B07870F015C8}"/>
                </a:ext>
              </a:extLst>
            </p:cNvPr>
            <p:cNvSpPr/>
            <p:nvPr/>
          </p:nvSpPr>
          <p:spPr>
            <a:xfrm>
              <a:off x="6714281" y="3033918"/>
              <a:ext cx="792480" cy="8229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" name="Graphic 22" descr="Music note outline">
              <a:extLst>
                <a:ext uri="{FF2B5EF4-FFF2-40B4-BE49-F238E27FC236}">
                  <a16:creationId xmlns:a16="http://schemas.microsoft.com/office/drawing/2014/main" id="{D0DBD263-1023-8044-0E56-988D7C3F91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26636" y="3161513"/>
              <a:ext cx="567771" cy="567771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AAC2752-81B3-8900-1568-FF1F757AA32B}"/>
              </a:ext>
            </a:extLst>
          </p:cNvPr>
          <p:cNvGrpSpPr/>
          <p:nvPr/>
        </p:nvGrpSpPr>
        <p:grpSpPr>
          <a:xfrm rot="1725106">
            <a:off x="10603826" y="4890299"/>
            <a:ext cx="1054791" cy="1095360"/>
            <a:chOff x="10454640" y="1737360"/>
            <a:chExt cx="792480" cy="82296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16CE5-D46B-A54D-481E-0FDF08BBA5EA}"/>
                </a:ext>
              </a:extLst>
            </p:cNvPr>
            <p:cNvSpPr/>
            <p:nvPr/>
          </p:nvSpPr>
          <p:spPr>
            <a:xfrm>
              <a:off x="10454640" y="1737360"/>
              <a:ext cx="792480" cy="8229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5" name="Graphic 24" descr="Music notes outline">
              <a:extLst>
                <a:ext uri="{FF2B5EF4-FFF2-40B4-BE49-F238E27FC236}">
                  <a16:creationId xmlns:a16="http://schemas.microsoft.com/office/drawing/2014/main" id="{2318372A-3CA4-4303-D2D1-20B43216A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566995" y="1864955"/>
              <a:ext cx="567771" cy="567771"/>
            </a:xfrm>
            <a:prstGeom prst="rect">
              <a:avLst/>
            </a:prstGeom>
          </p:spPr>
        </p:pic>
      </p:grpSp>
      <p:sp>
        <p:nvSpPr>
          <p:cNvPr id="32" name="Block Arc 31">
            <a:extLst>
              <a:ext uri="{FF2B5EF4-FFF2-40B4-BE49-F238E27FC236}">
                <a16:creationId xmlns:a16="http://schemas.microsoft.com/office/drawing/2014/main" id="{77AF9ACB-B7B1-85CC-5751-ACE4C8CBDA1D}"/>
              </a:ext>
            </a:extLst>
          </p:cNvPr>
          <p:cNvSpPr/>
          <p:nvPr/>
        </p:nvSpPr>
        <p:spPr>
          <a:xfrm rot="16200000" flipV="1">
            <a:off x="-869339" y="1"/>
            <a:ext cx="1715529" cy="1715529"/>
          </a:xfrm>
          <a:prstGeom prst="blockArc">
            <a:avLst>
              <a:gd name="adj1" fmla="val 10800000"/>
              <a:gd name="adj2" fmla="val 21551066"/>
              <a:gd name="adj3" fmla="val 17623"/>
            </a:avLst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7614EB-FF30-40C1-D417-DE8CAC877629}"/>
              </a:ext>
            </a:extLst>
          </p:cNvPr>
          <p:cNvSpPr txBox="1"/>
          <p:nvPr/>
        </p:nvSpPr>
        <p:spPr>
          <a:xfrm>
            <a:off x="334961" y="5334773"/>
            <a:ext cx="1201838" cy="1232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Sophie</a:t>
            </a:r>
          </a:p>
          <a:p>
            <a:r>
              <a:rPr lang="en-US" dirty="0">
                <a:solidFill>
                  <a:schemeClr val="bg2"/>
                </a:solidFill>
              </a:rPr>
              <a:t>Darryl</a:t>
            </a:r>
          </a:p>
          <a:p>
            <a:r>
              <a:rPr lang="en-US" dirty="0">
                <a:solidFill>
                  <a:schemeClr val="bg2"/>
                </a:solidFill>
              </a:rPr>
              <a:t>Natalie</a:t>
            </a:r>
          </a:p>
          <a:p>
            <a:r>
              <a:rPr lang="en-US" dirty="0">
                <a:solidFill>
                  <a:schemeClr val="bg2"/>
                </a:solidFill>
              </a:rPr>
              <a:t>Jaspreet</a:t>
            </a:r>
          </a:p>
        </p:txBody>
      </p:sp>
    </p:spTree>
    <p:extLst>
      <p:ext uri="{BB962C8B-B14F-4D97-AF65-F5344CB8AC3E}">
        <p14:creationId xmlns:p14="http://schemas.microsoft.com/office/powerpoint/2010/main" val="33764556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228517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p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360DE8-31EE-FAA3-E777-47004567BD15}"/>
              </a:ext>
            </a:extLst>
          </p:cNvPr>
          <p:cNvSpPr txBox="1"/>
          <p:nvPr/>
        </p:nvSpPr>
        <p:spPr>
          <a:xfrm>
            <a:off x="383220" y="2364941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F45DBD-39B5-8EEA-4A17-0E22C21E483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tis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casts &amp; Show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83220" y="132298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Us</a:t>
            </a:r>
          </a:p>
        </p:txBody>
      </p: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777378" y="2019722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6BAD29-DE55-67E5-7D89-5AB268192420}"/>
              </a:ext>
            </a:extLst>
          </p:cNvPr>
          <p:cNvGrpSpPr/>
          <p:nvPr/>
        </p:nvGrpSpPr>
        <p:grpSpPr>
          <a:xfrm>
            <a:off x="9700813" y="109778"/>
            <a:ext cx="2464720" cy="769421"/>
            <a:chOff x="3984994" y="4152781"/>
            <a:chExt cx="1429407" cy="520978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084DDBB-2CC3-5D6C-15EE-729122A3D525}"/>
                </a:ext>
              </a:extLst>
            </p:cNvPr>
            <p:cNvSpPr/>
            <p:nvPr/>
          </p:nvSpPr>
          <p:spPr>
            <a:xfrm>
              <a:off x="3984994" y="4152781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Fourth Visual</a:t>
              </a: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EBF1577B-613C-8940-C8FE-CCE8DF688E52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1032" name="Rectangle 1031">
                <a:extLst>
                  <a:ext uri="{FF2B5EF4-FFF2-40B4-BE49-F238E27FC236}">
                    <a16:creationId xmlns:a16="http://schemas.microsoft.com/office/drawing/2014/main" id="{B4383C84-3120-5369-BF1F-BD7AC4ABA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3" name="Rectangle 1042">
                <a:extLst>
                  <a:ext uri="{FF2B5EF4-FFF2-40B4-BE49-F238E27FC236}">
                    <a16:creationId xmlns:a16="http://schemas.microsoft.com/office/drawing/2014/main" id="{9FDF03F0-6E94-4D92-B95C-610F0C5A4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E7C28F0C-1A8B-1DE4-E625-1DE9B02F1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00D3526-C855-D54C-A854-118A3BDDF39A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r Library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21459A-60E1-15DA-19E0-FAAB9F8502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60536" y="2273123"/>
            <a:ext cx="5802129" cy="275798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5507E20-28D7-3160-FA9E-771AA7BA7047}"/>
              </a:ext>
            </a:extLst>
          </p:cNvPr>
          <p:cNvSpPr txBox="1"/>
          <p:nvPr/>
        </p:nvSpPr>
        <p:spPr>
          <a:xfrm>
            <a:off x="9809625" y="1322984"/>
            <a:ext cx="202880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This customisable graph allows a user to choose the amount of songs they want to check out and rank them according to popularity! </a:t>
            </a:r>
          </a:p>
        </p:txBody>
      </p:sp>
    </p:spTree>
    <p:extLst>
      <p:ext uri="{BB962C8B-B14F-4D97-AF65-F5344CB8AC3E}">
        <p14:creationId xmlns:p14="http://schemas.microsoft.com/office/powerpoint/2010/main" val="1878935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353494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ng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ngth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360DE8-31EE-FAA3-E777-47004567BD15}"/>
              </a:ext>
            </a:extLst>
          </p:cNvPr>
          <p:cNvSpPr txBox="1"/>
          <p:nvPr/>
        </p:nvSpPr>
        <p:spPr>
          <a:xfrm>
            <a:off x="383220" y="2364941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F45DBD-39B5-8EEA-4A17-0E22C21E483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tis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casts &amp; Show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83220" y="132298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Us</a:t>
            </a:r>
          </a:p>
        </p:txBody>
      </p:sp>
      <p:sp>
        <p:nvSpPr>
          <p:cNvPr id="41" name="Heart 40">
            <a:extLst>
              <a:ext uri="{FF2B5EF4-FFF2-40B4-BE49-F238E27FC236}">
                <a16:creationId xmlns:a16="http://schemas.microsoft.com/office/drawing/2014/main" id="{8D40B542-B96D-DDA7-C265-DF105A2A5899}"/>
              </a:ext>
            </a:extLst>
          </p:cNvPr>
          <p:cNvSpPr/>
          <p:nvPr/>
        </p:nvSpPr>
        <p:spPr>
          <a:xfrm>
            <a:off x="57183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652094" y="1202674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6BAD29-DE55-67E5-7D89-5AB268192420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084DDBB-2CC3-5D6C-15EE-729122A3D525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Fifth Visual</a:t>
              </a: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EBF1577B-613C-8940-C8FE-CCE8DF688E52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1032" name="Rectangle 1031">
                <a:extLst>
                  <a:ext uri="{FF2B5EF4-FFF2-40B4-BE49-F238E27FC236}">
                    <a16:creationId xmlns:a16="http://schemas.microsoft.com/office/drawing/2014/main" id="{B4383C84-3120-5369-BF1F-BD7AC4ABA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3" name="Rectangle 1042">
                <a:extLst>
                  <a:ext uri="{FF2B5EF4-FFF2-40B4-BE49-F238E27FC236}">
                    <a16:creationId xmlns:a16="http://schemas.microsoft.com/office/drawing/2014/main" id="{9FDF03F0-6E94-4D92-B95C-610F0C5A4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E7C28F0C-1A8B-1DE4-E625-1DE9B02F1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00D3526-C855-D54C-A854-118A3BDDF39A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r Library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0D91C6-5423-CAFA-5C36-888A284581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19023" y="1176084"/>
            <a:ext cx="4921837" cy="309842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231F760-A7A0-2410-E4E7-CFA2A13CF3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19023" y="4310219"/>
            <a:ext cx="4572000" cy="3302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5270374-0A3D-3FE2-2C03-A17D708AF11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19022" y="4799071"/>
            <a:ext cx="3236027" cy="1901166"/>
          </a:xfrm>
          <a:prstGeom prst="rect">
            <a:avLst/>
          </a:prstGeom>
        </p:spPr>
      </p:pic>
      <p:sp>
        <p:nvSpPr>
          <p:cNvPr id="30" name="Heart 29">
            <a:extLst>
              <a:ext uri="{FF2B5EF4-FFF2-40B4-BE49-F238E27FC236}">
                <a16:creationId xmlns:a16="http://schemas.microsoft.com/office/drawing/2014/main" id="{4FCE5A30-ECAD-DA4D-D395-CD4E9FCB57F7}"/>
              </a:ext>
            </a:extLst>
          </p:cNvPr>
          <p:cNvSpPr/>
          <p:nvPr/>
        </p:nvSpPr>
        <p:spPr>
          <a:xfrm>
            <a:off x="8652094" y="4295843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2F65035C-2910-65DF-5428-B63D4F7022F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95203" y="4774790"/>
            <a:ext cx="2682889" cy="194972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EA194BDE-15A7-2E7A-4691-5C8E812C82DF}"/>
              </a:ext>
            </a:extLst>
          </p:cNvPr>
          <p:cNvSpPr txBox="1"/>
          <p:nvPr/>
        </p:nvSpPr>
        <p:spPr>
          <a:xfrm>
            <a:off x="9975138" y="1143746"/>
            <a:ext cx="200910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To create this graph we used another library called Observable to denote the duration of songs over time! 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As shown here the length of songs have generally decreased over time </a:t>
            </a:r>
          </a:p>
        </p:txBody>
      </p:sp>
    </p:spTree>
    <p:extLst>
      <p:ext uri="{BB962C8B-B14F-4D97-AF65-F5344CB8AC3E}">
        <p14:creationId xmlns:p14="http://schemas.microsoft.com/office/powerpoint/2010/main" val="26036483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520238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tribute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la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360DE8-31EE-FAA3-E777-47004567BD15}"/>
              </a:ext>
            </a:extLst>
          </p:cNvPr>
          <p:cNvSpPr txBox="1"/>
          <p:nvPr/>
        </p:nvSpPr>
        <p:spPr>
          <a:xfrm>
            <a:off x="383220" y="2364941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F45DBD-39B5-8EEA-4A17-0E22C21E483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tis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casts &amp; Show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83220" y="132298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Us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6BAD29-DE55-67E5-7D89-5AB268192420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084DDBB-2CC3-5D6C-15EE-729122A3D525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ixth visual</a:t>
              </a: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EBF1577B-613C-8940-C8FE-CCE8DF688E52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1032" name="Rectangle 1031">
                <a:extLst>
                  <a:ext uri="{FF2B5EF4-FFF2-40B4-BE49-F238E27FC236}">
                    <a16:creationId xmlns:a16="http://schemas.microsoft.com/office/drawing/2014/main" id="{B4383C84-3120-5369-BF1F-BD7AC4ABA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3" name="Rectangle 1042">
                <a:extLst>
                  <a:ext uri="{FF2B5EF4-FFF2-40B4-BE49-F238E27FC236}">
                    <a16:creationId xmlns:a16="http://schemas.microsoft.com/office/drawing/2014/main" id="{9FDF03F0-6E94-4D92-B95C-610F0C5A4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E7C28F0C-1A8B-1DE4-E625-1DE9B02F1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00D3526-C855-D54C-A854-118A3BDDF39A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r Library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B1CA86-3CC2-A837-E281-3BBF8A60DC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29989" y="1322277"/>
            <a:ext cx="5741559" cy="189788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06CB483-FC5C-6987-720D-213270B7A4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32366" y="3453046"/>
            <a:ext cx="4439076" cy="2989023"/>
          </a:xfrm>
          <a:prstGeom prst="rect">
            <a:avLst/>
          </a:prstGeom>
        </p:spPr>
      </p:pic>
      <p:sp>
        <p:nvSpPr>
          <p:cNvPr id="29" name="Heart 28">
            <a:extLst>
              <a:ext uri="{FF2B5EF4-FFF2-40B4-BE49-F238E27FC236}">
                <a16:creationId xmlns:a16="http://schemas.microsoft.com/office/drawing/2014/main" id="{F0EEE78D-8A7D-0DF7-B694-966F90E1E740}"/>
              </a:ext>
            </a:extLst>
          </p:cNvPr>
          <p:cNvSpPr/>
          <p:nvPr/>
        </p:nvSpPr>
        <p:spPr>
          <a:xfrm>
            <a:off x="8764672" y="1325637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Heart 29">
            <a:extLst>
              <a:ext uri="{FF2B5EF4-FFF2-40B4-BE49-F238E27FC236}">
                <a16:creationId xmlns:a16="http://schemas.microsoft.com/office/drawing/2014/main" id="{70098AD8-98A4-E7B7-7215-F15930034F40}"/>
              </a:ext>
            </a:extLst>
          </p:cNvPr>
          <p:cNvSpPr/>
          <p:nvPr/>
        </p:nvSpPr>
        <p:spPr>
          <a:xfrm>
            <a:off x="8770315" y="34310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1BF99C-DD70-350E-245A-01E35F56D1A4}"/>
              </a:ext>
            </a:extLst>
          </p:cNvPr>
          <p:cNvSpPr txBox="1"/>
          <p:nvPr/>
        </p:nvSpPr>
        <p:spPr>
          <a:xfrm>
            <a:off x="9809625" y="1322277"/>
            <a:ext cx="200585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This is a fun interactive feature of our dashboard where users can pick two attributes of their choice in the dropdown menus and they can create a scatter graph highlighting the musical correlations </a:t>
            </a:r>
          </a:p>
        </p:txBody>
      </p:sp>
    </p:spTree>
    <p:extLst>
      <p:ext uri="{BB962C8B-B14F-4D97-AF65-F5344CB8AC3E}">
        <p14:creationId xmlns:p14="http://schemas.microsoft.com/office/powerpoint/2010/main" val="14159404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383220" y="2364941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casts &amp; Show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83220" y="132298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Us</a:t>
            </a:r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B529057-8E8F-C756-316D-3D36CCE9A37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17212D6-0B40-9DE6-5EAE-AB1F22D6F44B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id="{BD5D1E91-DF1E-3A83-D016-43C9CC97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45">
              <a:extLst>
                <a:ext uri="{FF2B5EF4-FFF2-40B4-BE49-F238E27FC236}">
                  <a16:creationId xmlns:a16="http://schemas.microsoft.com/office/drawing/2014/main" id="{26762164-400E-E6AF-C554-F89B22CC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246">
              <a:extLst>
                <a:ext uri="{FF2B5EF4-FFF2-40B4-BE49-F238E27FC236}">
                  <a16:creationId xmlns:a16="http://schemas.microsoft.com/office/drawing/2014/main" id="{70A91313-16DC-0CBF-8557-5C3B6B6EE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247">
              <a:extLst>
                <a:ext uri="{FF2B5EF4-FFF2-40B4-BE49-F238E27FC236}">
                  <a16:creationId xmlns:a16="http://schemas.microsoft.com/office/drawing/2014/main" id="{9D115F21-E694-E7DA-E14C-5A78349903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248">
              <a:extLst>
                <a:ext uri="{FF2B5EF4-FFF2-40B4-BE49-F238E27FC236}">
                  <a16:creationId xmlns:a16="http://schemas.microsoft.com/office/drawing/2014/main" id="{D54B7384-AB70-82C5-E34A-AF92FEA96A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9">
              <a:extLst>
                <a:ext uri="{FF2B5EF4-FFF2-40B4-BE49-F238E27FC236}">
                  <a16:creationId xmlns:a16="http://schemas.microsoft.com/office/drawing/2014/main" id="{AB1ECDFF-E962-5F9C-2B64-7A50FF41C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0">
              <a:extLst>
                <a:ext uri="{FF2B5EF4-FFF2-40B4-BE49-F238E27FC236}">
                  <a16:creationId xmlns:a16="http://schemas.microsoft.com/office/drawing/2014/main" id="{539C8972-29D3-D925-ED9B-54130F2FCE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51">
              <a:extLst>
                <a:ext uri="{FF2B5EF4-FFF2-40B4-BE49-F238E27FC236}">
                  <a16:creationId xmlns:a16="http://schemas.microsoft.com/office/drawing/2014/main" id="{E7701B33-F717-C098-51EF-20095EECE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52">
              <a:extLst>
                <a:ext uri="{FF2B5EF4-FFF2-40B4-BE49-F238E27FC236}">
                  <a16:creationId xmlns:a16="http://schemas.microsoft.com/office/drawing/2014/main" id="{534D679F-BFDE-B875-C9D8-CCEB3156F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9011328-BC19-9759-C4A2-A876E6C72E81}"/>
              </a:ext>
            </a:extLst>
          </p:cNvPr>
          <p:cNvSpPr txBox="1"/>
          <p:nvPr/>
        </p:nvSpPr>
        <p:spPr>
          <a:xfrm>
            <a:off x="3474402" y="388280"/>
            <a:ext cx="497867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  <a:endParaRPr lang="en-US" sz="4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A7B8DBE-2EAE-7839-9C80-79EC67CF8397}"/>
              </a:ext>
            </a:extLst>
          </p:cNvPr>
          <p:cNvSpPr/>
          <p:nvPr/>
        </p:nvSpPr>
        <p:spPr>
          <a:xfrm>
            <a:off x="3282828" y="1169384"/>
            <a:ext cx="8382635" cy="4519231"/>
          </a:xfrm>
          <a:prstGeom prst="roundRect">
            <a:avLst>
              <a:gd name="adj" fmla="val 7408"/>
            </a:avLst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ABF978A-9132-DD70-EECE-614EB7A93DF3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tists</a:t>
            </a:r>
          </a:p>
        </p:txBody>
      </p:sp>
      <p:pic>
        <p:nvPicPr>
          <p:cNvPr id="1025" name="Picture 1024" descr="Shape&#10;&#10;Description automatically generated with low confidence">
            <a:extLst>
              <a:ext uri="{FF2B5EF4-FFF2-40B4-BE49-F238E27FC236}">
                <a16:creationId xmlns:a16="http://schemas.microsoft.com/office/drawing/2014/main" id="{6543E4F6-DC4E-CC73-8C10-8245CD6F1B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1058" name="Group 1057">
            <a:extLst>
              <a:ext uri="{FF2B5EF4-FFF2-40B4-BE49-F238E27FC236}">
                <a16:creationId xmlns:a16="http://schemas.microsoft.com/office/drawing/2014/main" id="{A5B83C71-4A5B-3856-B170-6EDB2A173C70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1059" name="Freeform 5">
              <a:extLst>
                <a:ext uri="{FF2B5EF4-FFF2-40B4-BE49-F238E27FC236}">
                  <a16:creationId xmlns:a16="http://schemas.microsoft.com/office/drawing/2014/main" id="{B8D1E660-6803-7B32-0FD8-E4642B01D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0" name="Freeform 6">
              <a:extLst>
                <a:ext uri="{FF2B5EF4-FFF2-40B4-BE49-F238E27FC236}">
                  <a16:creationId xmlns:a16="http://schemas.microsoft.com/office/drawing/2014/main" id="{C56AAB10-F31A-DBD6-3EAE-76748106A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2" name="Line 7">
              <a:extLst>
                <a:ext uri="{FF2B5EF4-FFF2-40B4-BE49-F238E27FC236}">
                  <a16:creationId xmlns:a16="http://schemas.microsoft.com/office/drawing/2014/main" id="{4BD1F8C2-E233-F82B-2700-F2CC703C35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3" name="Line 8">
              <a:extLst>
                <a:ext uri="{FF2B5EF4-FFF2-40B4-BE49-F238E27FC236}">
                  <a16:creationId xmlns:a16="http://schemas.microsoft.com/office/drawing/2014/main" id="{1D840CE7-49BC-67FB-CEEE-BAD8ACC17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4" name="Line 9">
              <a:extLst>
                <a:ext uri="{FF2B5EF4-FFF2-40B4-BE49-F238E27FC236}">
                  <a16:creationId xmlns:a16="http://schemas.microsoft.com/office/drawing/2014/main" id="{4D129C56-7016-A70C-B50F-BF276B8BBE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5" name="Line 10">
              <a:extLst>
                <a:ext uri="{FF2B5EF4-FFF2-40B4-BE49-F238E27FC236}">
                  <a16:creationId xmlns:a16="http://schemas.microsoft.com/office/drawing/2014/main" id="{1339ADDF-FA51-DCB2-EC7A-E084B7703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6" name="Line 11">
              <a:extLst>
                <a:ext uri="{FF2B5EF4-FFF2-40B4-BE49-F238E27FC236}">
                  <a16:creationId xmlns:a16="http://schemas.microsoft.com/office/drawing/2014/main" id="{269E2B38-25D0-BB27-337A-EDEF57D0EA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7" name="Line 12">
              <a:extLst>
                <a:ext uri="{FF2B5EF4-FFF2-40B4-BE49-F238E27FC236}">
                  <a16:creationId xmlns:a16="http://schemas.microsoft.com/office/drawing/2014/main" id="{DE8F0581-A863-0FF5-0890-904D17E84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8" name="Line 13">
              <a:extLst>
                <a:ext uri="{FF2B5EF4-FFF2-40B4-BE49-F238E27FC236}">
                  <a16:creationId xmlns:a16="http://schemas.microsoft.com/office/drawing/2014/main" id="{4D504BCE-BFC9-7074-5D73-64A219D173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9" name="Line 14">
              <a:extLst>
                <a:ext uri="{FF2B5EF4-FFF2-40B4-BE49-F238E27FC236}">
                  <a16:creationId xmlns:a16="http://schemas.microsoft.com/office/drawing/2014/main" id="{3F72658C-A275-4AC5-9218-F6F81024E46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0" name="Line 15">
              <a:extLst>
                <a:ext uri="{FF2B5EF4-FFF2-40B4-BE49-F238E27FC236}">
                  <a16:creationId xmlns:a16="http://schemas.microsoft.com/office/drawing/2014/main" id="{B7DF4F6A-2452-8DFC-0996-E4C9DC5695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1" name="Line 16">
              <a:extLst>
                <a:ext uri="{FF2B5EF4-FFF2-40B4-BE49-F238E27FC236}">
                  <a16:creationId xmlns:a16="http://schemas.microsoft.com/office/drawing/2014/main" id="{0C7ED7DC-9385-FF36-5A79-7F13A65E7F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2" name="Line 17">
              <a:extLst>
                <a:ext uri="{FF2B5EF4-FFF2-40B4-BE49-F238E27FC236}">
                  <a16:creationId xmlns:a16="http://schemas.microsoft.com/office/drawing/2014/main" id="{847060A0-AEB6-3D26-81C6-0DC98638C6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C1BF408-2318-A5A4-4073-2C98C74DF553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r Libr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AFFE9D-7977-4D7F-043C-686BE2F37B5C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E210C59-BB78-3EF2-FFA3-31E99823A8D3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52" name="Freeform 197">
              <a:extLst>
                <a:ext uri="{FF2B5EF4-FFF2-40B4-BE49-F238E27FC236}">
                  <a16:creationId xmlns:a16="http://schemas.microsoft.com/office/drawing/2014/main" id="{5C544E9B-7903-3E7E-67CC-8009240F9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8">
              <a:extLst>
                <a:ext uri="{FF2B5EF4-FFF2-40B4-BE49-F238E27FC236}">
                  <a16:creationId xmlns:a16="http://schemas.microsoft.com/office/drawing/2014/main" id="{6555D88A-1D08-385A-4517-C57DB6B44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Rectangle 199">
              <a:extLst>
                <a:ext uri="{FF2B5EF4-FFF2-40B4-BE49-F238E27FC236}">
                  <a16:creationId xmlns:a16="http://schemas.microsoft.com/office/drawing/2014/main" id="{B53357E1-2789-3034-86BB-26E167DA59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200">
              <a:extLst>
                <a:ext uri="{FF2B5EF4-FFF2-40B4-BE49-F238E27FC236}">
                  <a16:creationId xmlns:a16="http://schemas.microsoft.com/office/drawing/2014/main" id="{7C9D9DAA-4418-DC93-7F80-6E1A5648A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201">
              <a:extLst>
                <a:ext uri="{FF2B5EF4-FFF2-40B4-BE49-F238E27FC236}">
                  <a16:creationId xmlns:a16="http://schemas.microsoft.com/office/drawing/2014/main" id="{E1E5766B-AF50-9E77-4D4A-989AF0D9A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F30C3F5-FA66-93DE-9106-7597D7D33D7C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59" name="Oval 187">
              <a:extLst>
                <a:ext uri="{FF2B5EF4-FFF2-40B4-BE49-F238E27FC236}">
                  <a16:creationId xmlns:a16="http://schemas.microsoft.com/office/drawing/2014/main" id="{489C472B-8E56-AC53-5307-F4038A84B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Oval 188">
              <a:extLst>
                <a:ext uri="{FF2B5EF4-FFF2-40B4-BE49-F238E27FC236}">
                  <a16:creationId xmlns:a16="http://schemas.microsoft.com/office/drawing/2014/main" id="{8ADF4A93-3DFA-744D-76E1-CDA596E89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189">
              <a:extLst>
                <a:ext uri="{FF2B5EF4-FFF2-40B4-BE49-F238E27FC236}">
                  <a16:creationId xmlns:a16="http://schemas.microsoft.com/office/drawing/2014/main" id="{0B8A9178-DD75-2013-451E-94D3DB472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190">
              <a:extLst>
                <a:ext uri="{FF2B5EF4-FFF2-40B4-BE49-F238E27FC236}">
                  <a16:creationId xmlns:a16="http://schemas.microsoft.com/office/drawing/2014/main" id="{EAA36865-BDF7-64FD-8118-B9C6997BC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4" name="Freeform 191">
              <a:extLst>
                <a:ext uri="{FF2B5EF4-FFF2-40B4-BE49-F238E27FC236}">
                  <a16:creationId xmlns:a16="http://schemas.microsoft.com/office/drawing/2014/main" id="{2A7801F8-7F33-EA7B-A341-1377CA2F1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6" name="Freeform 192">
              <a:extLst>
                <a:ext uri="{FF2B5EF4-FFF2-40B4-BE49-F238E27FC236}">
                  <a16:creationId xmlns:a16="http://schemas.microsoft.com/office/drawing/2014/main" id="{F40EE231-78AA-A60E-4CBA-DCBECE3E6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B5711E39-A215-57B8-43E3-00B97D341AFF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5E5A48C-D466-0824-F804-6EE0BE335B4C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1027" name="Graphic 1026" descr="Badge Question Mark outline">
            <a:extLst>
              <a:ext uri="{FF2B5EF4-FFF2-40B4-BE49-F238E27FC236}">
                <a16:creationId xmlns:a16="http://schemas.microsoft.com/office/drawing/2014/main" id="{1ED2410C-6844-7849-F9CE-1C9B321F50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1028" name="Graphic 1027" descr="Customer review outline">
            <a:extLst>
              <a:ext uri="{FF2B5EF4-FFF2-40B4-BE49-F238E27FC236}">
                <a16:creationId xmlns:a16="http://schemas.microsoft.com/office/drawing/2014/main" id="{09C2C153-110D-EAEF-FC9B-FBCEECC5AF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2087972-F21C-2513-B7AF-FA117A95A8EB}"/>
              </a:ext>
            </a:extLst>
          </p:cNvPr>
          <p:cNvSpPr txBox="1"/>
          <p:nvPr/>
        </p:nvSpPr>
        <p:spPr>
          <a:xfrm>
            <a:off x="4159624" y="1689902"/>
            <a:ext cx="66159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Upon reflection there are some topics that are definitely worth delving into, for example looking into how </a:t>
            </a:r>
            <a:r>
              <a:rPr lang="en-GB" dirty="0" err="1">
                <a:solidFill>
                  <a:schemeClr val="bg2"/>
                </a:solidFill>
              </a:rPr>
              <a:t>spotify</a:t>
            </a:r>
            <a:r>
              <a:rPr lang="en-GB" dirty="0">
                <a:solidFill>
                  <a:schemeClr val="bg2"/>
                </a:solidFill>
              </a:rPr>
              <a:t> uses individual data to curate personalised playlists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Or we could create detailed dynamic </a:t>
            </a:r>
            <a:r>
              <a:rPr lang="en-GB" dirty="0" err="1">
                <a:solidFill>
                  <a:schemeClr val="bg2"/>
                </a:solidFill>
              </a:rPr>
              <a:t>visulisations</a:t>
            </a:r>
            <a:r>
              <a:rPr lang="en-GB" dirty="0">
                <a:solidFill>
                  <a:schemeClr val="bg2"/>
                </a:solidFill>
              </a:rPr>
              <a:t> using other libraries like </a:t>
            </a:r>
            <a:r>
              <a:rPr lang="en-GB" dirty="0" err="1">
                <a:solidFill>
                  <a:schemeClr val="bg2"/>
                </a:solidFill>
              </a:rPr>
              <a:t>chart.js</a:t>
            </a:r>
            <a:r>
              <a:rPr lang="en-GB" dirty="0">
                <a:solidFill>
                  <a:schemeClr val="bg2"/>
                </a:solidFill>
              </a:rPr>
              <a:t>, for example to further explain and analyse our data</a:t>
            </a:r>
          </a:p>
        </p:txBody>
      </p:sp>
    </p:spTree>
    <p:extLst>
      <p:ext uri="{BB962C8B-B14F-4D97-AF65-F5344CB8AC3E}">
        <p14:creationId xmlns:p14="http://schemas.microsoft.com/office/powerpoint/2010/main" val="4062347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152D3C6-E0B3-24D4-D954-35A4DEFE5E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ECA0E-5FD1-07E5-5901-3B14B5E17D66}"/>
              </a:ext>
            </a:extLst>
          </p:cNvPr>
          <p:cNvSpPr/>
          <p:nvPr/>
        </p:nvSpPr>
        <p:spPr>
          <a:xfrm>
            <a:off x="1819254" y="5762473"/>
            <a:ext cx="10372746" cy="10955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3243572-ADB0-9786-69BF-FA143B8ADEB0}"/>
              </a:ext>
            </a:extLst>
          </p:cNvPr>
          <p:cNvSpPr/>
          <p:nvPr/>
        </p:nvSpPr>
        <p:spPr>
          <a:xfrm>
            <a:off x="1" y="-1"/>
            <a:ext cx="12191997" cy="2971801"/>
          </a:xfrm>
          <a:prstGeom prst="rect">
            <a:avLst/>
          </a:prstGeom>
          <a:solidFill>
            <a:srgbClr val="1DB95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AC70E0-C964-CFF8-5D48-2F71033773EF}"/>
              </a:ext>
            </a:extLst>
          </p:cNvPr>
          <p:cNvSpPr txBox="1"/>
          <p:nvPr/>
        </p:nvSpPr>
        <p:spPr>
          <a:xfrm>
            <a:off x="1488293" y="1143451"/>
            <a:ext cx="667622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8800" b="1" dirty="0">
                <a:solidFill>
                  <a:schemeClr val="bg1"/>
                </a:solidFill>
              </a:rPr>
              <a:t>Thank You</a:t>
            </a:r>
            <a:endParaRPr lang="en-US" sz="72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B9778DD-712D-ED56-13E3-29B8B3D3043E}"/>
              </a:ext>
            </a:extLst>
          </p:cNvPr>
          <p:cNvSpPr/>
          <p:nvPr/>
        </p:nvSpPr>
        <p:spPr>
          <a:xfrm>
            <a:off x="1819254" y="5360314"/>
            <a:ext cx="2378419" cy="8043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BE53BD0-2A62-0FD6-74F3-9AC3F1DE7FAD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4197673" y="5762473"/>
            <a:ext cx="8014045" cy="1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lock Arc 13">
            <a:extLst>
              <a:ext uri="{FF2B5EF4-FFF2-40B4-BE49-F238E27FC236}">
                <a16:creationId xmlns:a16="http://schemas.microsoft.com/office/drawing/2014/main" id="{5452E435-748F-5185-5618-B204E7B29A98}"/>
              </a:ext>
            </a:extLst>
          </p:cNvPr>
          <p:cNvSpPr/>
          <p:nvPr/>
        </p:nvSpPr>
        <p:spPr>
          <a:xfrm rot="16200000" flipV="1">
            <a:off x="-877483" y="34011"/>
            <a:ext cx="1715529" cy="1715529"/>
          </a:xfrm>
          <a:prstGeom prst="blockArc">
            <a:avLst>
              <a:gd name="adj1" fmla="val 10800000"/>
              <a:gd name="adj2" fmla="val 21551066"/>
              <a:gd name="adj3" fmla="val 176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7CB4288-926A-9419-FD7F-F5D70D14A643}"/>
              </a:ext>
            </a:extLst>
          </p:cNvPr>
          <p:cNvGrpSpPr/>
          <p:nvPr/>
        </p:nvGrpSpPr>
        <p:grpSpPr>
          <a:xfrm>
            <a:off x="9845350" y="2424120"/>
            <a:ext cx="1054791" cy="1095360"/>
            <a:chOff x="14634168" y="97431"/>
            <a:chExt cx="1054791" cy="109536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7748650-DF58-B9A5-B16F-BA92C1D473AD}"/>
                </a:ext>
              </a:extLst>
            </p:cNvPr>
            <p:cNvSpPr/>
            <p:nvPr/>
          </p:nvSpPr>
          <p:spPr>
            <a:xfrm rot="1725106">
              <a:off x="14634168" y="97431"/>
              <a:ext cx="1054791" cy="10953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phic 25" descr="Record outline">
              <a:extLst>
                <a:ext uri="{FF2B5EF4-FFF2-40B4-BE49-F238E27FC236}">
                  <a16:creationId xmlns:a16="http://schemas.microsoft.com/office/drawing/2014/main" id="{C59B9B5A-7784-75EC-F1EC-142DAE0F2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4743263" y="226811"/>
              <a:ext cx="836601" cy="836601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4E94EE4-9211-C71E-A171-74653F286FF4}"/>
              </a:ext>
            </a:extLst>
          </p:cNvPr>
          <p:cNvSpPr txBox="1"/>
          <p:nvPr/>
        </p:nvSpPr>
        <p:spPr>
          <a:xfrm>
            <a:off x="2049239" y="5491290"/>
            <a:ext cx="1918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Keep streaming! </a:t>
            </a:r>
          </a:p>
        </p:txBody>
      </p:sp>
    </p:spTree>
    <p:extLst>
      <p:ext uri="{BB962C8B-B14F-4D97-AF65-F5344CB8AC3E}">
        <p14:creationId xmlns:p14="http://schemas.microsoft.com/office/powerpoint/2010/main" val="358285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B9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roject 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5894CC-E93E-27D4-E910-33EA2D3734AF}"/>
              </a:ext>
            </a:extLst>
          </p:cNvPr>
          <p:cNvSpPr txBox="1"/>
          <p:nvPr/>
        </p:nvSpPr>
        <p:spPr>
          <a:xfrm>
            <a:off x="896112" y="2208142"/>
            <a:ext cx="51998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+mj-lt"/>
              </a:rPr>
              <a:t>The aim of this project is to develop our current understanding of interactive visualization languages in order to create a usable dashboard for users to check out what’s happening on </a:t>
            </a:r>
            <a:r>
              <a:rPr lang="en-US" b="1" dirty="0" err="1">
                <a:latin typeface="+mj-lt"/>
              </a:rPr>
              <a:t>Spotfiy</a:t>
            </a:r>
            <a:r>
              <a:rPr lang="en-US" b="1" dirty="0">
                <a:latin typeface="+mj-lt"/>
              </a:rPr>
              <a:t> right now ! </a:t>
            </a:r>
          </a:p>
        </p:txBody>
      </p: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257634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</a:t>
            </a:r>
            <a:endParaRPr lang="en-US" sz="4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F45DBD-39B5-8EEA-4A17-0E22C21E483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606650" y="1434691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B529057-8E8F-C756-316D-3D36CCE9A37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17212D6-0B40-9DE6-5EAE-AB1F22D6F44B}"/>
              </a:ext>
            </a:extLst>
          </p:cNvPr>
          <p:cNvGrpSpPr>
            <a:grpSpLocks noChangeAspect="1"/>
          </p:cNvGrpSpPr>
          <p:nvPr/>
        </p:nvGrpSpPr>
        <p:grpSpPr>
          <a:xfrm>
            <a:off x="612098" y="2436643"/>
            <a:ext cx="226899" cy="216000"/>
            <a:chOff x="5483226" y="731838"/>
            <a:chExt cx="363538" cy="346076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id="{BD5D1E91-DF1E-3A83-D016-43C9CC97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45">
              <a:extLst>
                <a:ext uri="{FF2B5EF4-FFF2-40B4-BE49-F238E27FC236}">
                  <a16:creationId xmlns:a16="http://schemas.microsoft.com/office/drawing/2014/main" id="{26762164-400E-E6AF-C554-F89B22CC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246">
              <a:extLst>
                <a:ext uri="{FF2B5EF4-FFF2-40B4-BE49-F238E27FC236}">
                  <a16:creationId xmlns:a16="http://schemas.microsoft.com/office/drawing/2014/main" id="{70A91313-16DC-0CBF-8557-5C3B6B6EE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247">
              <a:extLst>
                <a:ext uri="{FF2B5EF4-FFF2-40B4-BE49-F238E27FC236}">
                  <a16:creationId xmlns:a16="http://schemas.microsoft.com/office/drawing/2014/main" id="{9D115F21-E694-E7DA-E14C-5A78349903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248">
              <a:extLst>
                <a:ext uri="{FF2B5EF4-FFF2-40B4-BE49-F238E27FC236}">
                  <a16:creationId xmlns:a16="http://schemas.microsoft.com/office/drawing/2014/main" id="{D54B7384-AB70-82C5-E34A-AF92FEA96A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9">
              <a:extLst>
                <a:ext uri="{FF2B5EF4-FFF2-40B4-BE49-F238E27FC236}">
                  <a16:creationId xmlns:a16="http://schemas.microsoft.com/office/drawing/2014/main" id="{AB1ECDFF-E962-5F9C-2B64-7A50FF41C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0">
              <a:extLst>
                <a:ext uri="{FF2B5EF4-FFF2-40B4-BE49-F238E27FC236}">
                  <a16:creationId xmlns:a16="http://schemas.microsoft.com/office/drawing/2014/main" id="{539C8972-29D3-D925-ED9B-54130F2FCE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51">
              <a:extLst>
                <a:ext uri="{FF2B5EF4-FFF2-40B4-BE49-F238E27FC236}">
                  <a16:creationId xmlns:a16="http://schemas.microsoft.com/office/drawing/2014/main" id="{E7701B33-F717-C098-51EF-20095EECE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52">
              <a:extLst>
                <a:ext uri="{FF2B5EF4-FFF2-40B4-BE49-F238E27FC236}">
                  <a16:creationId xmlns:a16="http://schemas.microsoft.com/office/drawing/2014/main" id="{534D679F-BFDE-B875-C9D8-CCEB3156F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238" name="Straight Connector 1237">
            <a:extLst>
              <a:ext uri="{FF2B5EF4-FFF2-40B4-BE49-F238E27FC236}">
                <a16:creationId xmlns:a16="http://schemas.microsoft.com/office/drawing/2014/main" id="{2647AEAC-607B-22AA-2152-0BCA0841C5DD}"/>
              </a:ext>
            </a:extLst>
          </p:cNvPr>
          <p:cNvCxnSpPr/>
          <p:nvPr/>
        </p:nvCxnSpPr>
        <p:spPr>
          <a:xfrm>
            <a:off x="4272449" y="5315783"/>
            <a:ext cx="0" cy="525272"/>
          </a:xfrm>
          <a:prstGeom prst="line">
            <a:avLst/>
          </a:prstGeom>
          <a:ln>
            <a:solidFill>
              <a:srgbClr val="1DB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9" name="Straight Connector 1238">
            <a:extLst>
              <a:ext uri="{FF2B5EF4-FFF2-40B4-BE49-F238E27FC236}">
                <a16:creationId xmlns:a16="http://schemas.microsoft.com/office/drawing/2014/main" id="{DB32BA03-AFC3-95C3-E7DB-56C69CFC2776}"/>
              </a:ext>
            </a:extLst>
          </p:cNvPr>
          <p:cNvCxnSpPr/>
          <p:nvPr/>
        </p:nvCxnSpPr>
        <p:spPr>
          <a:xfrm>
            <a:off x="8613220" y="5315783"/>
            <a:ext cx="0" cy="525272"/>
          </a:xfrm>
          <a:prstGeom prst="line">
            <a:avLst/>
          </a:prstGeom>
          <a:ln>
            <a:solidFill>
              <a:srgbClr val="1DB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0" name="Group 1239">
            <a:extLst>
              <a:ext uri="{FF2B5EF4-FFF2-40B4-BE49-F238E27FC236}">
                <a16:creationId xmlns:a16="http://schemas.microsoft.com/office/drawing/2014/main" id="{23D0EAC8-7376-E116-A84D-157BF44A024E}"/>
              </a:ext>
            </a:extLst>
          </p:cNvPr>
          <p:cNvGrpSpPr>
            <a:grpSpLocks noChangeAspect="1"/>
          </p:cNvGrpSpPr>
          <p:nvPr/>
        </p:nvGrpSpPr>
        <p:grpSpPr>
          <a:xfrm>
            <a:off x="3754914" y="5369619"/>
            <a:ext cx="417600" cy="417600"/>
            <a:chOff x="6203951" y="3616326"/>
            <a:chExt cx="346075" cy="346075"/>
          </a:xfrm>
        </p:grpSpPr>
        <p:sp>
          <p:nvSpPr>
            <p:cNvPr id="1241" name="Oval 122">
              <a:extLst>
                <a:ext uri="{FF2B5EF4-FFF2-40B4-BE49-F238E27FC236}">
                  <a16:creationId xmlns:a16="http://schemas.microsoft.com/office/drawing/2014/main" id="{CC338D9D-C115-7788-CBB2-EFD4F93D8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3616326"/>
              <a:ext cx="346075" cy="346075"/>
            </a:xfrm>
            <a:prstGeom prst="ellips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2" name="Freeform 123">
              <a:extLst>
                <a:ext uri="{FF2B5EF4-FFF2-40B4-BE49-F238E27FC236}">
                  <a16:creationId xmlns:a16="http://schemas.microsoft.com/office/drawing/2014/main" id="{1A4D8E17-0E13-96F5-9E4F-403162228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3722688"/>
              <a:ext cx="134938" cy="134938"/>
            </a:xfrm>
            <a:custGeom>
              <a:avLst/>
              <a:gdLst>
                <a:gd name="T0" fmla="*/ 0 w 85"/>
                <a:gd name="T1" fmla="*/ 85 h 85"/>
                <a:gd name="T2" fmla="*/ 0 w 85"/>
                <a:gd name="T3" fmla="*/ 0 h 85"/>
                <a:gd name="T4" fmla="*/ 85 w 85"/>
                <a:gd name="T5" fmla="*/ 42 h 85"/>
                <a:gd name="T6" fmla="*/ 0 w 85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85">
                  <a:moveTo>
                    <a:pt x="0" y="85"/>
                  </a:moveTo>
                  <a:lnTo>
                    <a:pt x="0" y="0"/>
                  </a:lnTo>
                  <a:lnTo>
                    <a:pt x="85" y="42"/>
                  </a:lnTo>
                  <a:lnTo>
                    <a:pt x="0" y="85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43" name="Group 1242">
            <a:extLst>
              <a:ext uri="{FF2B5EF4-FFF2-40B4-BE49-F238E27FC236}">
                <a16:creationId xmlns:a16="http://schemas.microsoft.com/office/drawing/2014/main" id="{019FBF29-A6B4-6173-1FF8-0A7AF7E428A1}"/>
              </a:ext>
            </a:extLst>
          </p:cNvPr>
          <p:cNvGrpSpPr>
            <a:grpSpLocks noChangeAspect="1"/>
          </p:cNvGrpSpPr>
          <p:nvPr/>
        </p:nvGrpSpPr>
        <p:grpSpPr>
          <a:xfrm>
            <a:off x="8102442" y="5369619"/>
            <a:ext cx="415685" cy="417600"/>
            <a:chOff x="7646989" y="3616326"/>
            <a:chExt cx="344488" cy="346075"/>
          </a:xfrm>
        </p:grpSpPr>
        <p:sp>
          <p:nvSpPr>
            <p:cNvPr id="1244" name="Oval 132">
              <a:extLst>
                <a:ext uri="{FF2B5EF4-FFF2-40B4-BE49-F238E27FC236}">
                  <a16:creationId xmlns:a16="http://schemas.microsoft.com/office/drawing/2014/main" id="{AFDDF382-7D72-CFD3-7FC1-A3F0F10563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6989" y="3616326"/>
              <a:ext cx="344488" cy="346075"/>
            </a:xfrm>
            <a:prstGeom prst="ellips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5" name="Rectangle 133">
              <a:extLst>
                <a:ext uri="{FF2B5EF4-FFF2-40B4-BE49-F238E27FC236}">
                  <a16:creationId xmlns:a16="http://schemas.microsoft.com/office/drawing/2014/main" id="{A86218A2-E9E2-F99E-525B-F5FDBCB1D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539" y="3722688"/>
              <a:ext cx="30163" cy="1349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6" name="Freeform 134">
              <a:extLst>
                <a:ext uri="{FF2B5EF4-FFF2-40B4-BE49-F238E27FC236}">
                  <a16:creationId xmlns:a16="http://schemas.microsoft.com/office/drawing/2014/main" id="{54054D33-B24B-DAF1-4D79-B8A0E15D3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1764" y="3722688"/>
              <a:ext cx="74613" cy="134938"/>
            </a:xfrm>
            <a:custGeom>
              <a:avLst/>
              <a:gdLst>
                <a:gd name="T0" fmla="*/ 0 w 47"/>
                <a:gd name="T1" fmla="*/ 85 h 85"/>
                <a:gd name="T2" fmla="*/ 47 w 47"/>
                <a:gd name="T3" fmla="*/ 42 h 85"/>
                <a:gd name="T4" fmla="*/ 0 w 47"/>
                <a:gd name="T5" fmla="*/ 0 h 85"/>
                <a:gd name="T6" fmla="*/ 0 w 4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85">
                  <a:moveTo>
                    <a:pt x="0" y="85"/>
                  </a:moveTo>
                  <a:lnTo>
                    <a:pt x="47" y="42"/>
                  </a:lnTo>
                  <a:lnTo>
                    <a:pt x="0" y="0"/>
                  </a:lnTo>
                  <a:lnTo>
                    <a:pt x="0" y="85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7" name="Picture 6" descr="Shape&#10;&#10;Description automatically generated with low confidence">
            <a:extLst>
              <a:ext uri="{FF2B5EF4-FFF2-40B4-BE49-F238E27FC236}">
                <a16:creationId xmlns:a16="http://schemas.microsoft.com/office/drawing/2014/main" id="{41E184CA-388A-2B6D-B6D1-3ACAC72216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7B84FC1-C973-D19B-DCED-366446466CD1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3AEECE9-4DFB-53DD-D598-D72DBBE34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0AA1C94-F512-6BB4-AD3A-24B0DA994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Line 7">
              <a:extLst>
                <a:ext uri="{FF2B5EF4-FFF2-40B4-BE49-F238E27FC236}">
                  <a16:creationId xmlns:a16="http://schemas.microsoft.com/office/drawing/2014/main" id="{97A1D2A1-7B8C-37D1-F528-2237560789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Line 8">
              <a:extLst>
                <a:ext uri="{FF2B5EF4-FFF2-40B4-BE49-F238E27FC236}">
                  <a16:creationId xmlns:a16="http://schemas.microsoft.com/office/drawing/2014/main" id="{94E5A30D-FDF1-91EC-409E-8805225F91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9">
              <a:extLst>
                <a:ext uri="{FF2B5EF4-FFF2-40B4-BE49-F238E27FC236}">
                  <a16:creationId xmlns:a16="http://schemas.microsoft.com/office/drawing/2014/main" id="{4F7A0882-3902-135F-C7E5-A99618F1F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0">
              <a:extLst>
                <a:ext uri="{FF2B5EF4-FFF2-40B4-BE49-F238E27FC236}">
                  <a16:creationId xmlns:a16="http://schemas.microsoft.com/office/drawing/2014/main" id="{C4ECB292-8453-980E-6F4E-5CE62FC66C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11">
              <a:extLst>
                <a:ext uri="{FF2B5EF4-FFF2-40B4-BE49-F238E27FC236}">
                  <a16:creationId xmlns:a16="http://schemas.microsoft.com/office/drawing/2014/main" id="{0FC3C62F-A822-6D9C-F7E6-C6157BCBF7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12">
              <a:extLst>
                <a:ext uri="{FF2B5EF4-FFF2-40B4-BE49-F238E27FC236}">
                  <a16:creationId xmlns:a16="http://schemas.microsoft.com/office/drawing/2014/main" id="{2F1597EC-E1EF-A8AC-400D-C664B29BF3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13">
              <a:extLst>
                <a:ext uri="{FF2B5EF4-FFF2-40B4-BE49-F238E27FC236}">
                  <a16:creationId xmlns:a16="http://schemas.microsoft.com/office/drawing/2014/main" id="{DB7579E6-A613-E720-90D2-1BC88FEEB9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14">
              <a:extLst>
                <a:ext uri="{FF2B5EF4-FFF2-40B4-BE49-F238E27FC236}">
                  <a16:creationId xmlns:a16="http://schemas.microsoft.com/office/drawing/2014/main" id="{750A4D13-CCBE-CCAB-526D-E16C6ADDCA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15">
              <a:extLst>
                <a:ext uri="{FF2B5EF4-FFF2-40B4-BE49-F238E27FC236}">
                  <a16:creationId xmlns:a16="http://schemas.microsoft.com/office/drawing/2014/main" id="{1FD7B190-3D6E-5ABA-143D-905BB7376A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16">
              <a:extLst>
                <a:ext uri="{FF2B5EF4-FFF2-40B4-BE49-F238E27FC236}">
                  <a16:creationId xmlns:a16="http://schemas.microsoft.com/office/drawing/2014/main" id="{AC7A172D-E7D5-A383-8EFB-D733E33B08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Line 17">
              <a:extLst>
                <a:ext uri="{FF2B5EF4-FFF2-40B4-BE49-F238E27FC236}">
                  <a16:creationId xmlns:a16="http://schemas.microsoft.com/office/drawing/2014/main" id="{E7B0B198-52CA-0DDE-7C85-6D5DDD72FD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49AC35B-E965-00FC-8101-0667EBACDB76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  <p:sp>
        <p:nvSpPr>
          <p:cNvPr id="1120" name="TextBox 1119">
            <a:extLst>
              <a:ext uri="{FF2B5EF4-FFF2-40B4-BE49-F238E27FC236}">
                <a16:creationId xmlns:a16="http://schemas.microsoft.com/office/drawing/2014/main" id="{ED9DFD82-D90E-2C2B-432F-AE8B1639FD80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1121" name="Group 1120">
            <a:extLst>
              <a:ext uri="{FF2B5EF4-FFF2-40B4-BE49-F238E27FC236}">
                <a16:creationId xmlns:a16="http://schemas.microsoft.com/office/drawing/2014/main" id="{7A5AC5C9-23C6-D193-BC83-FBA2BAF9AA30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1122" name="Freeform 197">
              <a:extLst>
                <a:ext uri="{FF2B5EF4-FFF2-40B4-BE49-F238E27FC236}">
                  <a16:creationId xmlns:a16="http://schemas.microsoft.com/office/drawing/2014/main" id="{01AB78C0-DC94-2D5C-F556-E7CCBD303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Freeform 198">
              <a:extLst>
                <a:ext uri="{FF2B5EF4-FFF2-40B4-BE49-F238E27FC236}">
                  <a16:creationId xmlns:a16="http://schemas.microsoft.com/office/drawing/2014/main" id="{B7D0BEAD-9B2C-A961-85CD-9EC014E50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Rectangle 199">
              <a:extLst>
                <a:ext uri="{FF2B5EF4-FFF2-40B4-BE49-F238E27FC236}">
                  <a16:creationId xmlns:a16="http://schemas.microsoft.com/office/drawing/2014/main" id="{10B21AF0-5C51-D450-CC67-4899CA446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Freeform 200">
              <a:extLst>
                <a:ext uri="{FF2B5EF4-FFF2-40B4-BE49-F238E27FC236}">
                  <a16:creationId xmlns:a16="http://schemas.microsoft.com/office/drawing/2014/main" id="{67331785-5E3F-B782-3AB0-D400ED5CA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Freeform 201">
              <a:extLst>
                <a:ext uri="{FF2B5EF4-FFF2-40B4-BE49-F238E27FC236}">
                  <a16:creationId xmlns:a16="http://schemas.microsoft.com/office/drawing/2014/main" id="{EF1DC94D-30F6-A81C-0B9A-6DAECFC9C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7" name="Group 1126">
            <a:extLst>
              <a:ext uri="{FF2B5EF4-FFF2-40B4-BE49-F238E27FC236}">
                <a16:creationId xmlns:a16="http://schemas.microsoft.com/office/drawing/2014/main" id="{033008D6-5BB8-9F4C-CAA9-7E0C565B33AB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1128" name="Oval 187">
              <a:extLst>
                <a:ext uri="{FF2B5EF4-FFF2-40B4-BE49-F238E27FC236}">
                  <a16:creationId xmlns:a16="http://schemas.microsoft.com/office/drawing/2014/main" id="{1ADC5C9F-586C-87D2-EDD2-05A3A86ED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9" name="Oval 188">
              <a:extLst>
                <a:ext uri="{FF2B5EF4-FFF2-40B4-BE49-F238E27FC236}">
                  <a16:creationId xmlns:a16="http://schemas.microsoft.com/office/drawing/2014/main" id="{3A3131F3-9204-ACF0-81C0-F11E91F88F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Oval 189">
              <a:extLst>
                <a:ext uri="{FF2B5EF4-FFF2-40B4-BE49-F238E27FC236}">
                  <a16:creationId xmlns:a16="http://schemas.microsoft.com/office/drawing/2014/main" id="{DCD35714-5859-81E7-B875-5F4D3FB75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Freeform 190">
              <a:extLst>
                <a:ext uri="{FF2B5EF4-FFF2-40B4-BE49-F238E27FC236}">
                  <a16:creationId xmlns:a16="http://schemas.microsoft.com/office/drawing/2014/main" id="{475109A8-5BB9-C3FF-DE99-BEF1EA07E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Freeform 191">
              <a:extLst>
                <a:ext uri="{FF2B5EF4-FFF2-40B4-BE49-F238E27FC236}">
                  <a16:creationId xmlns:a16="http://schemas.microsoft.com/office/drawing/2014/main" id="{579BEEB7-41E2-E360-AD0A-BCE3AF910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Freeform 192">
              <a:extLst>
                <a:ext uri="{FF2B5EF4-FFF2-40B4-BE49-F238E27FC236}">
                  <a16:creationId xmlns:a16="http://schemas.microsoft.com/office/drawing/2014/main" id="{B226C2A6-7110-DF86-F6A4-DCF94D298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8EBF7B64-B064-391C-BBC6-205F04DD890D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13A6C7-B0EA-6D61-2EDE-7D7AB1A89D34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42" name="Graphic 41" descr="Badge Question Mark outline">
            <a:extLst>
              <a:ext uri="{FF2B5EF4-FFF2-40B4-BE49-F238E27FC236}">
                <a16:creationId xmlns:a16="http://schemas.microsoft.com/office/drawing/2014/main" id="{DD68F11D-563B-1F63-93AA-9187360DC0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43" name="Graphic 42" descr="Customer review outline">
            <a:extLst>
              <a:ext uri="{FF2B5EF4-FFF2-40B4-BE49-F238E27FC236}">
                <a16:creationId xmlns:a16="http://schemas.microsoft.com/office/drawing/2014/main" id="{80E702E3-1DFB-0E95-5E42-0E80B7ABD4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80CF99D-8CEC-4A07-0CEF-D94E8EE087CC}"/>
              </a:ext>
            </a:extLst>
          </p:cNvPr>
          <p:cNvSpPr txBox="1"/>
          <p:nvPr/>
        </p:nvSpPr>
        <p:spPr>
          <a:xfrm>
            <a:off x="4547937" y="5277953"/>
            <a:ext cx="32966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SOURCE: https://</a:t>
            </a:r>
            <a:r>
              <a:rPr lang="en-US" dirty="0" err="1">
                <a:solidFill>
                  <a:schemeClr val="bg2"/>
                </a:solidFill>
              </a:rPr>
              <a:t>www.kaggle.com</a:t>
            </a:r>
            <a:r>
              <a:rPr lang="en-US" dirty="0">
                <a:solidFill>
                  <a:schemeClr val="bg2"/>
                </a:solidFill>
              </a:rPr>
              <a:t>/datasets/</a:t>
            </a:r>
            <a:r>
              <a:rPr lang="en-US" dirty="0" err="1">
                <a:solidFill>
                  <a:schemeClr val="bg2"/>
                </a:solidFill>
              </a:rPr>
              <a:t>joebeachcapital</a:t>
            </a:r>
            <a:r>
              <a:rPr lang="en-US" dirty="0">
                <a:solidFill>
                  <a:schemeClr val="bg2"/>
                </a:solidFill>
              </a:rPr>
              <a:t>/30000-spotify-songs</a:t>
            </a:r>
          </a:p>
        </p:txBody>
      </p:sp>
      <p:pic>
        <p:nvPicPr>
          <p:cNvPr id="44" name="Picture 43" descr="A screenshot of a computer&#10;&#10;Description automatically generated">
            <a:extLst>
              <a:ext uri="{FF2B5EF4-FFF2-40B4-BE49-F238E27FC236}">
                <a16:creationId xmlns:a16="http://schemas.microsoft.com/office/drawing/2014/main" id="{3811DB28-AE1C-A3D4-397D-9A37698E2C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459" y="1197210"/>
            <a:ext cx="8002781" cy="364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388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17212D6-0B40-9DE6-5EAE-AB1F22D6F44B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id="{BD5D1E91-DF1E-3A83-D016-43C9CC97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45">
              <a:extLst>
                <a:ext uri="{FF2B5EF4-FFF2-40B4-BE49-F238E27FC236}">
                  <a16:creationId xmlns:a16="http://schemas.microsoft.com/office/drawing/2014/main" id="{26762164-400E-E6AF-C554-F89B22CC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246">
              <a:extLst>
                <a:ext uri="{FF2B5EF4-FFF2-40B4-BE49-F238E27FC236}">
                  <a16:creationId xmlns:a16="http://schemas.microsoft.com/office/drawing/2014/main" id="{70A91313-16DC-0CBF-8557-5C3B6B6EE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247">
              <a:extLst>
                <a:ext uri="{FF2B5EF4-FFF2-40B4-BE49-F238E27FC236}">
                  <a16:creationId xmlns:a16="http://schemas.microsoft.com/office/drawing/2014/main" id="{9D115F21-E694-E7DA-E14C-5A78349903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248">
              <a:extLst>
                <a:ext uri="{FF2B5EF4-FFF2-40B4-BE49-F238E27FC236}">
                  <a16:creationId xmlns:a16="http://schemas.microsoft.com/office/drawing/2014/main" id="{D54B7384-AB70-82C5-E34A-AF92FEA96A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9">
              <a:extLst>
                <a:ext uri="{FF2B5EF4-FFF2-40B4-BE49-F238E27FC236}">
                  <a16:creationId xmlns:a16="http://schemas.microsoft.com/office/drawing/2014/main" id="{AB1ECDFF-E962-5F9C-2B64-7A50FF41C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0">
              <a:extLst>
                <a:ext uri="{FF2B5EF4-FFF2-40B4-BE49-F238E27FC236}">
                  <a16:creationId xmlns:a16="http://schemas.microsoft.com/office/drawing/2014/main" id="{539C8972-29D3-D925-ED9B-54130F2FCE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51">
              <a:extLst>
                <a:ext uri="{FF2B5EF4-FFF2-40B4-BE49-F238E27FC236}">
                  <a16:creationId xmlns:a16="http://schemas.microsoft.com/office/drawing/2014/main" id="{E7701B33-F717-C098-51EF-20095EECE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52">
              <a:extLst>
                <a:ext uri="{FF2B5EF4-FFF2-40B4-BE49-F238E27FC236}">
                  <a16:creationId xmlns:a16="http://schemas.microsoft.com/office/drawing/2014/main" id="{534D679F-BFDE-B875-C9D8-CCEB3156F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9011328-BC19-9759-C4A2-A876E6C72E81}"/>
              </a:ext>
            </a:extLst>
          </p:cNvPr>
          <p:cNvSpPr txBox="1"/>
          <p:nvPr/>
        </p:nvSpPr>
        <p:spPr>
          <a:xfrm>
            <a:off x="3474402" y="388280"/>
            <a:ext cx="493436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pic>
        <p:nvPicPr>
          <p:cNvPr id="1025" name="Picture 1024" descr="Shape&#10;&#10;Description automatically generated with low confidence">
            <a:extLst>
              <a:ext uri="{FF2B5EF4-FFF2-40B4-BE49-F238E27FC236}">
                <a16:creationId xmlns:a16="http://schemas.microsoft.com/office/drawing/2014/main" id="{6543E4F6-DC4E-CC73-8C10-8245CD6F1B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8D8AC82B-6FCD-87E2-ECB4-A2640896D6B6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864CA07E-E9F9-EE8C-4891-74A1B589E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FB5083AF-4F0F-7660-0A2F-9A64350D4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7">
              <a:extLst>
                <a:ext uri="{FF2B5EF4-FFF2-40B4-BE49-F238E27FC236}">
                  <a16:creationId xmlns:a16="http://schemas.microsoft.com/office/drawing/2014/main" id="{02982F14-40C8-954C-4458-67B1606529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8">
              <a:extLst>
                <a:ext uri="{FF2B5EF4-FFF2-40B4-BE49-F238E27FC236}">
                  <a16:creationId xmlns:a16="http://schemas.microsoft.com/office/drawing/2014/main" id="{BB6F365D-E5CB-D39A-07BB-B76337FF0A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9">
              <a:extLst>
                <a:ext uri="{FF2B5EF4-FFF2-40B4-BE49-F238E27FC236}">
                  <a16:creationId xmlns:a16="http://schemas.microsoft.com/office/drawing/2014/main" id="{55C4E5FA-8D3C-6D1F-3004-40EED5E7CB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10">
              <a:extLst>
                <a:ext uri="{FF2B5EF4-FFF2-40B4-BE49-F238E27FC236}">
                  <a16:creationId xmlns:a16="http://schemas.microsoft.com/office/drawing/2014/main" id="{0BA7CCD2-D538-2ED9-0F53-BF05F9E8D8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11">
              <a:extLst>
                <a:ext uri="{FF2B5EF4-FFF2-40B4-BE49-F238E27FC236}">
                  <a16:creationId xmlns:a16="http://schemas.microsoft.com/office/drawing/2014/main" id="{DE5BC279-3B3A-63A1-D805-CEB6821BCA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12">
              <a:extLst>
                <a:ext uri="{FF2B5EF4-FFF2-40B4-BE49-F238E27FC236}">
                  <a16:creationId xmlns:a16="http://schemas.microsoft.com/office/drawing/2014/main" id="{D424D6DF-3C9A-9464-5524-B2A111FA12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3">
              <a:extLst>
                <a:ext uri="{FF2B5EF4-FFF2-40B4-BE49-F238E27FC236}">
                  <a16:creationId xmlns:a16="http://schemas.microsoft.com/office/drawing/2014/main" id="{03650281-56AD-7201-0D96-99C36EEEBB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4" name="Line 14">
              <a:extLst>
                <a:ext uri="{FF2B5EF4-FFF2-40B4-BE49-F238E27FC236}">
                  <a16:creationId xmlns:a16="http://schemas.microsoft.com/office/drawing/2014/main" id="{654E8180-FEA8-216C-549C-3DF84D3602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6" name="Line 15">
              <a:extLst>
                <a:ext uri="{FF2B5EF4-FFF2-40B4-BE49-F238E27FC236}">
                  <a16:creationId xmlns:a16="http://schemas.microsoft.com/office/drawing/2014/main" id="{B02867B4-BAB1-8A29-811C-C513EDAABD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7" name="Line 16">
              <a:extLst>
                <a:ext uri="{FF2B5EF4-FFF2-40B4-BE49-F238E27FC236}">
                  <a16:creationId xmlns:a16="http://schemas.microsoft.com/office/drawing/2014/main" id="{CF045351-5FF3-6A8B-1731-A71B0A8CE0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8" name="Line 17">
              <a:extLst>
                <a:ext uri="{FF2B5EF4-FFF2-40B4-BE49-F238E27FC236}">
                  <a16:creationId xmlns:a16="http://schemas.microsoft.com/office/drawing/2014/main" id="{CC9201B5-08D0-A21B-F335-ADADC42ACA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CF5BC51-A517-3061-8411-CDA581724FF7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33" name="Oval 187">
              <a:extLst>
                <a:ext uri="{FF2B5EF4-FFF2-40B4-BE49-F238E27FC236}">
                  <a16:creationId xmlns:a16="http://schemas.microsoft.com/office/drawing/2014/main" id="{5F365BF3-018D-6209-C787-CB7CEAA813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188">
              <a:extLst>
                <a:ext uri="{FF2B5EF4-FFF2-40B4-BE49-F238E27FC236}">
                  <a16:creationId xmlns:a16="http://schemas.microsoft.com/office/drawing/2014/main" id="{E2FEA225-2B51-F903-8AE3-C0E6AAE066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Oval 189">
              <a:extLst>
                <a:ext uri="{FF2B5EF4-FFF2-40B4-BE49-F238E27FC236}">
                  <a16:creationId xmlns:a16="http://schemas.microsoft.com/office/drawing/2014/main" id="{EFEFC81A-71C0-5E38-0C9E-5FFEBA9969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90">
              <a:extLst>
                <a:ext uri="{FF2B5EF4-FFF2-40B4-BE49-F238E27FC236}">
                  <a16:creationId xmlns:a16="http://schemas.microsoft.com/office/drawing/2014/main" id="{40A7CB84-F062-BD94-AE0B-51E365BDB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1">
              <a:extLst>
                <a:ext uri="{FF2B5EF4-FFF2-40B4-BE49-F238E27FC236}">
                  <a16:creationId xmlns:a16="http://schemas.microsoft.com/office/drawing/2014/main" id="{38086CBB-80C2-738A-B320-C10711EC0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92">
              <a:extLst>
                <a:ext uri="{FF2B5EF4-FFF2-40B4-BE49-F238E27FC236}">
                  <a16:creationId xmlns:a16="http://schemas.microsoft.com/office/drawing/2014/main" id="{D99DA1DA-F6F0-934A-9371-E05AD78AF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70BF0F2-463A-C134-3346-7B41EE6FAD0E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42" name="Freeform 197">
              <a:extLst>
                <a:ext uri="{FF2B5EF4-FFF2-40B4-BE49-F238E27FC236}">
                  <a16:creationId xmlns:a16="http://schemas.microsoft.com/office/drawing/2014/main" id="{9FF23133-0882-BC08-E098-E5B1F39A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98">
              <a:extLst>
                <a:ext uri="{FF2B5EF4-FFF2-40B4-BE49-F238E27FC236}">
                  <a16:creationId xmlns:a16="http://schemas.microsoft.com/office/drawing/2014/main" id="{D81D90AB-B17F-BD55-0336-ADB5D5C64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Rectangle 199">
              <a:extLst>
                <a:ext uri="{FF2B5EF4-FFF2-40B4-BE49-F238E27FC236}">
                  <a16:creationId xmlns:a16="http://schemas.microsoft.com/office/drawing/2014/main" id="{41ABC7B7-7379-C39C-8DDD-FC027129E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200">
              <a:extLst>
                <a:ext uri="{FF2B5EF4-FFF2-40B4-BE49-F238E27FC236}">
                  <a16:creationId xmlns:a16="http://schemas.microsoft.com/office/drawing/2014/main" id="{AB1C8039-3123-03BA-A5DF-8549FACD8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201">
              <a:extLst>
                <a:ext uri="{FF2B5EF4-FFF2-40B4-BE49-F238E27FC236}">
                  <a16:creationId xmlns:a16="http://schemas.microsoft.com/office/drawing/2014/main" id="{01E03CE2-89BD-E76C-C9C1-E24CF80B4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F8F1A75-2C92-B51E-2F22-4841B786817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pic>
        <p:nvPicPr>
          <p:cNvPr id="17" name="Graphic 16" descr="Badge Question Mark outline">
            <a:extLst>
              <a:ext uri="{FF2B5EF4-FFF2-40B4-BE49-F238E27FC236}">
                <a16:creationId xmlns:a16="http://schemas.microsoft.com/office/drawing/2014/main" id="{352B5698-C7D7-2810-37D0-5086A27F97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342F5AB-02B5-E167-7B0E-5E7A9505F3CB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388A4A9-D9CA-35C4-7D86-2D34056F608D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sp>
        <p:nvSpPr>
          <p:cNvPr id="1030" name="Rectangle: Top Corners Rounded 1029">
            <a:extLst>
              <a:ext uri="{FF2B5EF4-FFF2-40B4-BE49-F238E27FC236}">
                <a16:creationId xmlns:a16="http://schemas.microsoft.com/office/drawing/2014/main" id="{2BABC7F5-82EA-5CB7-3D71-C4FE0E73594E}"/>
              </a:ext>
            </a:extLst>
          </p:cNvPr>
          <p:cNvSpPr/>
          <p:nvPr/>
        </p:nvSpPr>
        <p:spPr>
          <a:xfrm rot="16200000">
            <a:off x="6636700" y="-1989496"/>
            <a:ext cx="2393003" cy="8717598"/>
          </a:xfrm>
          <a:prstGeom prst="round2SameRect">
            <a:avLst>
              <a:gd name="adj1" fmla="val 9823"/>
              <a:gd name="adj2" fmla="val 0"/>
            </a:avLst>
          </a:prstGeom>
          <a:solidFill>
            <a:srgbClr val="0A0A0B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56" name="Rectangle: Rounded Corners 1055">
            <a:extLst>
              <a:ext uri="{FF2B5EF4-FFF2-40B4-BE49-F238E27FC236}">
                <a16:creationId xmlns:a16="http://schemas.microsoft.com/office/drawing/2014/main" id="{10110A8E-BE6E-620F-27B7-D263413D67BD}"/>
              </a:ext>
            </a:extLst>
          </p:cNvPr>
          <p:cNvSpPr/>
          <p:nvPr/>
        </p:nvSpPr>
        <p:spPr>
          <a:xfrm>
            <a:off x="3757169" y="1522106"/>
            <a:ext cx="1627632" cy="1624205"/>
          </a:xfrm>
          <a:prstGeom prst="roundRect">
            <a:avLst>
              <a:gd name="adj" fmla="val 7408"/>
            </a:avLst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58" name="Graphic 1057" descr="Clipboard Mixed with solid fill">
            <a:extLst>
              <a:ext uri="{FF2B5EF4-FFF2-40B4-BE49-F238E27FC236}">
                <a16:creationId xmlns:a16="http://schemas.microsoft.com/office/drawing/2014/main" id="{FC1C32FA-D399-2D03-99DB-F611EFA06B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69083" y="1767427"/>
            <a:ext cx="1103195" cy="1103195"/>
          </a:xfrm>
          <a:prstGeom prst="rect">
            <a:avLst/>
          </a:prstGeom>
        </p:spPr>
      </p:pic>
      <p:sp>
        <p:nvSpPr>
          <p:cNvPr id="1059" name="TextBox 1058">
            <a:extLst>
              <a:ext uri="{FF2B5EF4-FFF2-40B4-BE49-F238E27FC236}">
                <a16:creationId xmlns:a16="http://schemas.microsoft.com/office/drawing/2014/main" id="{D465C0CE-8EEF-4BB6-F57B-E590774452C4}"/>
              </a:ext>
            </a:extLst>
          </p:cNvPr>
          <p:cNvSpPr txBox="1"/>
          <p:nvPr/>
        </p:nvSpPr>
        <p:spPr>
          <a:xfrm>
            <a:off x="3757169" y="3683096"/>
            <a:ext cx="8099869" cy="2140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1400" i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PYTER NOTEBOOK CODE // </a:t>
            </a:r>
            <a:endParaRPr lang="en-US" sz="1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60" name="Straight Connector 1059">
            <a:extLst>
              <a:ext uri="{FF2B5EF4-FFF2-40B4-BE49-F238E27FC236}">
                <a16:creationId xmlns:a16="http://schemas.microsoft.com/office/drawing/2014/main" id="{26B8BEE9-4D8E-08F6-075F-DD0BF9A12FF4}"/>
              </a:ext>
            </a:extLst>
          </p:cNvPr>
          <p:cNvCxnSpPr>
            <a:cxnSpLocks/>
          </p:cNvCxnSpPr>
          <p:nvPr/>
        </p:nvCxnSpPr>
        <p:spPr>
          <a:xfrm>
            <a:off x="8236244" y="3790119"/>
            <a:ext cx="3955756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 descr="Customer review outline">
            <a:extLst>
              <a:ext uri="{FF2B5EF4-FFF2-40B4-BE49-F238E27FC236}">
                <a16:creationId xmlns:a16="http://schemas.microsoft.com/office/drawing/2014/main" id="{D69A6F82-6BC5-FD25-C27E-8CB901B056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58C3F7B-D4E4-786A-61B5-7669D39859E4}"/>
              </a:ext>
            </a:extLst>
          </p:cNvPr>
          <p:cNvSpPr txBox="1"/>
          <p:nvPr/>
        </p:nvSpPr>
        <p:spPr>
          <a:xfrm>
            <a:off x="5520934" y="1669167"/>
            <a:ext cx="645916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Cleaned data on Jupyter Notebo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Created our SQLite conn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Generated our .json file to hold the dat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Created our flask rou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Worked on our visualis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29" name="Picture 28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63256927-0424-26BB-4929-B804F65FDE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683" y="4086071"/>
            <a:ext cx="3244368" cy="238376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2685E9E-7DAB-739A-05FC-D2558CAA73B3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1B15A01-5E50-4DD9-F5AB-ECB0EE34D0D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775613F-9E59-85BC-9451-F53059D71443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1E12E53E-6470-C93B-4842-A7A89C36E3A1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1DA62EE9-D2EA-DFD6-57A6-A06C4001AC1A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372D6EDA-70E5-8B11-F231-01F054853E6D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118694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508927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 </a:t>
            </a:r>
            <a:endParaRPr lang="en-US" sz="4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87CD81E-E586-441B-5E91-A4F6467F9ED1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65E560A-5878-F6A4-D133-56FE5AC42BB5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2D323B2B-1A46-4DE2-23B4-AE05B947C523}"/>
              </a:ext>
            </a:extLst>
          </p:cNvPr>
          <p:cNvSpPr/>
          <p:nvPr/>
        </p:nvSpPr>
        <p:spPr>
          <a:xfrm>
            <a:off x="3428683" y="1367642"/>
            <a:ext cx="8382635" cy="4954124"/>
          </a:xfrm>
          <a:prstGeom prst="roundRect">
            <a:avLst>
              <a:gd name="adj" fmla="val 7408"/>
            </a:avLst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3" name="Picture 42" descr="A picture containing indoor&#10;&#10;Description automatically generated">
            <a:extLst>
              <a:ext uri="{FF2B5EF4-FFF2-40B4-BE49-F238E27FC236}">
                <a16:creationId xmlns:a16="http://schemas.microsoft.com/office/drawing/2014/main" id="{0F692F82-882C-EDCF-EEB3-22975332AE5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18" r="18506" b="-777"/>
          <a:stretch/>
        </p:blipFill>
        <p:spPr>
          <a:xfrm>
            <a:off x="5685230" y="1325112"/>
            <a:ext cx="6126088" cy="3495985"/>
          </a:xfrm>
          <a:custGeom>
            <a:avLst/>
            <a:gdLst>
              <a:gd name="connsiteX0" fmla="*/ 0 w 6126088"/>
              <a:gd name="connsiteY0" fmla="*/ 0 h 2870791"/>
              <a:gd name="connsiteX1" fmla="*/ 5913420 w 6126088"/>
              <a:gd name="connsiteY1" fmla="*/ 0 h 2870791"/>
              <a:gd name="connsiteX2" fmla="*/ 6126088 w 6126088"/>
              <a:gd name="connsiteY2" fmla="*/ 212668 h 2870791"/>
              <a:gd name="connsiteX3" fmla="*/ 6126088 w 6126088"/>
              <a:gd name="connsiteY3" fmla="*/ 2658123 h 2870791"/>
              <a:gd name="connsiteX4" fmla="*/ 5913420 w 6126088"/>
              <a:gd name="connsiteY4" fmla="*/ 2870791 h 2870791"/>
              <a:gd name="connsiteX5" fmla="*/ 0 w 6126088"/>
              <a:gd name="connsiteY5" fmla="*/ 2870791 h 2870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26088" h="2870791">
                <a:moveTo>
                  <a:pt x="0" y="0"/>
                </a:moveTo>
                <a:lnTo>
                  <a:pt x="5913420" y="0"/>
                </a:lnTo>
                <a:cubicBezTo>
                  <a:pt x="6030873" y="0"/>
                  <a:pt x="6126088" y="95215"/>
                  <a:pt x="6126088" y="212668"/>
                </a:cubicBezTo>
                <a:lnTo>
                  <a:pt x="6126088" y="2658123"/>
                </a:lnTo>
                <a:cubicBezTo>
                  <a:pt x="6126088" y="2775576"/>
                  <a:pt x="6030873" y="2870791"/>
                  <a:pt x="5913420" y="2870791"/>
                </a:cubicBezTo>
                <a:lnTo>
                  <a:pt x="0" y="2870791"/>
                </a:lnTo>
                <a:close/>
              </a:path>
            </a:pathLst>
          </a:custGeom>
        </p:spPr>
      </p:pic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9B6C86C2-F620-98F4-A4E8-61A4CB9431C9}"/>
              </a:ext>
            </a:extLst>
          </p:cNvPr>
          <p:cNvSpPr/>
          <p:nvPr/>
        </p:nvSpPr>
        <p:spPr>
          <a:xfrm>
            <a:off x="3436448" y="1338265"/>
            <a:ext cx="8382635" cy="4968231"/>
          </a:xfrm>
          <a:prstGeom prst="roundRect">
            <a:avLst>
              <a:gd name="adj" fmla="val 7408"/>
            </a:avLst>
          </a:prstGeom>
          <a:gradFill>
            <a:gsLst>
              <a:gs pos="0">
                <a:srgbClr val="0A0A0B"/>
              </a:gs>
              <a:gs pos="100000">
                <a:srgbClr val="0C0D0E">
                  <a:alpha val="13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CBDBC168-5E83-5A26-1807-D17A43DDA94D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4" name="Rectangle 80">
              <a:extLst>
                <a:ext uri="{FF2B5EF4-FFF2-40B4-BE49-F238E27FC236}">
                  <a16:creationId xmlns:a16="http://schemas.microsoft.com/office/drawing/2014/main" id="{3F517093-719C-FCD0-64BC-E827197D9E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" name="Rectangle 81">
              <a:extLst>
                <a:ext uri="{FF2B5EF4-FFF2-40B4-BE49-F238E27FC236}">
                  <a16:creationId xmlns:a16="http://schemas.microsoft.com/office/drawing/2014/main" id="{F23C2109-496B-3C7B-5FE8-EDC05FBE8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Rectangle 82">
              <a:extLst>
                <a:ext uri="{FF2B5EF4-FFF2-40B4-BE49-F238E27FC236}">
                  <a16:creationId xmlns:a16="http://schemas.microsoft.com/office/drawing/2014/main" id="{700C700D-F062-129E-AA5C-1B5835903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Rectangle 83">
              <a:extLst>
                <a:ext uri="{FF2B5EF4-FFF2-40B4-BE49-F238E27FC236}">
                  <a16:creationId xmlns:a16="http://schemas.microsoft.com/office/drawing/2014/main" id="{138246D0-38CB-78DF-4534-BDF97510D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Rectangle 84">
              <a:extLst>
                <a:ext uri="{FF2B5EF4-FFF2-40B4-BE49-F238E27FC236}">
                  <a16:creationId xmlns:a16="http://schemas.microsoft.com/office/drawing/2014/main" id="{B85A494E-E948-3963-AB4A-3D367E28A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Rectangle 85">
              <a:extLst>
                <a:ext uri="{FF2B5EF4-FFF2-40B4-BE49-F238E27FC236}">
                  <a16:creationId xmlns:a16="http://schemas.microsoft.com/office/drawing/2014/main" id="{C5E7F8FF-6801-F903-4275-FB0B3ADE8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AA5F4C1-6854-6EFD-0287-47B9D96286A2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" name="Freeform 244">
              <a:extLst>
                <a:ext uri="{FF2B5EF4-FFF2-40B4-BE49-F238E27FC236}">
                  <a16:creationId xmlns:a16="http://schemas.microsoft.com/office/drawing/2014/main" id="{62450758-B742-BA79-23E4-0B203CD99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245">
              <a:extLst>
                <a:ext uri="{FF2B5EF4-FFF2-40B4-BE49-F238E27FC236}">
                  <a16:creationId xmlns:a16="http://schemas.microsoft.com/office/drawing/2014/main" id="{58631A26-131D-7C70-EDF6-EA521F258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6">
              <a:extLst>
                <a:ext uri="{FF2B5EF4-FFF2-40B4-BE49-F238E27FC236}">
                  <a16:creationId xmlns:a16="http://schemas.microsoft.com/office/drawing/2014/main" id="{3DEBFC8B-3FDC-7530-CF50-DF9C31A61B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47">
              <a:extLst>
                <a:ext uri="{FF2B5EF4-FFF2-40B4-BE49-F238E27FC236}">
                  <a16:creationId xmlns:a16="http://schemas.microsoft.com/office/drawing/2014/main" id="{5FE694CB-AE53-513D-ADC8-90EC7E53D6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48">
              <a:extLst>
                <a:ext uri="{FF2B5EF4-FFF2-40B4-BE49-F238E27FC236}">
                  <a16:creationId xmlns:a16="http://schemas.microsoft.com/office/drawing/2014/main" id="{D95AD3C5-0A1E-88BF-6E1D-A3C6F6F795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49">
              <a:extLst>
                <a:ext uri="{FF2B5EF4-FFF2-40B4-BE49-F238E27FC236}">
                  <a16:creationId xmlns:a16="http://schemas.microsoft.com/office/drawing/2014/main" id="{812C467B-D6E3-3FA7-7631-DB7A27C6B6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250">
              <a:extLst>
                <a:ext uri="{FF2B5EF4-FFF2-40B4-BE49-F238E27FC236}">
                  <a16:creationId xmlns:a16="http://schemas.microsoft.com/office/drawing/2014/main" id="{85BAEBBD-033D-3567-7BB4-5F71F73650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Line 251">
              <a:extLst>
                <a:ext uri="{FF2B5EF4-FFF2-40B4-BE49-F238E27FC236}">
                  <a16:creationId xmlns:a16="http://schemas.microsoft.com/office/drawing/2014/main" id="{8D82D04A-54B5-64CB-386F-887695F0B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252">
              <a:extLst>
                <a:ext uri="{FF2B5EF4-FFF2-40B4-BE49-F238E27FC236}">
                  <a16:creationId xmlns:a16="http://schemas.microsoft.com/office/drawing/2014/main" id="{5555F6CC-E2A4-D4C1-9D99-C135295516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000B6E-D9A7-1992-7074-0A9F4E5E0690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Shape&#10;&#10;Description automatically generated with low confidence">
            <a:extLst>
              <a:ext uri="{FF2B5EF4-FFF2-40B4-BE49-F238E27FC236}">
                <a16:creationId xmlns:a16="http://schemas.microsoft.com/office/drawing/2014/main" id="{F9CB26A2-81BA-13AE-6037-6D6265AD14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FA19AFC9-8D32-6F44-AA35-BEE365976E37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A8CD8985-5995-8805-ACBA-A4850412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FCFD9422-F292-0758-D487-222DFCCD3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7">
              <a:extLst>
                <a:ext uri="{FF2B5EF4-FFF2-40B4-BE49-F238E27FC236}">
                  <a16:creationId xmlns:a16="http://schemas.microsoft.com/office/drawing/2014/main" id="{61F4F144-9033-5689-461E-27BAD6D3C6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Line 8">
              <a:extLst>
                <a:ext uri="{FF2B5EF4-FFF2-40B4-BE49-F238E27FC236}">
                  <a16:creationId xmlns:a16="http://schemas.microsoft.com/office/drawing/2014/main" id="{731921E5-FD5A-4651-F307-465B96879C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9">
              <a:extLst>
                <a:ext uri="{FF2B5EF4-FFF2-40B4-BE49-F238E27FC236}">
                  <a16:creationId xmlns:a16="http://schemas.microsoft.com/office/drawing/2014/main" id="{3C4799AC-06C5-09DF-0E70-C1FB5F864C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10">
              <a:extLst>
                <a:ext uri="{FF2B5EF4-FFF2-40B4-BE49-F238E27FC236}">
                  <a16:creationId xmlns:a16="http://schemas.microsoft.com/office/drawing/2014/main" id="{EB67643F-FDA8-A9C5-78B3-F7A7F5FF72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11">
              <a:extLst>
                <a:ext uri="{FF2B5EF4-FFF2-40B4-BE49-F238E27FC236}">
                  <a16:creationId xmlns:a16="http://schemas.microsoft.com/office/drawing/2014/main" id="{5EF0C685-70F9-A239-7E3F-53C8CD64B4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12">
              <a:extLst>
                <a:ext uri="{FF2B5EF4-FFF2-40B4-BE49-F238E27FC236}">
                  <a16:creationId xmlns:a16="http://schemas.microsoft.com/office/drawing/2014/main" id="{ABBE0E40-D842-52D6-96E0-131AAF3473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13">
              <a:extLst>
                <a:ext uri="{FF2B5EF4-FFF2-40B4-BE49-F238E27FC236}">
                  <a16:creationId xmlns:a16="http://schemas.microsoft.com/office/drawing/2014/main" id="{E7CA93C4-6E96-BE20-E82C-A36045893D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14">
              <a:extLst>
                <a:ext uri="{FF2B5EF4-FFF2-40B4-BE49-F238E27FC236}">
                  <a16:creationId xmlns:a16="http://schemas.microsoft.com/office/drawing/2014/main" id="{56D3F7A9-6399-C042-04A0-7C20A02C0B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15">
              <a:extLst>
                <a:ext uri="{FF2B5EF4-FFF2-40B4-BE49-F238E27FC236}">
                  <a16:creationId xmlns:a16="http://schemas.microsoft.com/office/drawing/2014/main" id="{0AA18E9C-7DD2-A291-DE29-659225C9D8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16">
              <a:extLst>
                <a:ext uri="{FF2B5EF4-FFF2-40B4-BE49-F238E27FC236}">
                  <a16:creationId xmlns:a16="http://schemas.microsoft.com/office/drawing/2014/main" id="{39DE6B94-804A-F747-DBF5-88111506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6" name="Line 17">
              <a:extLst>
                <a:ext uri="{FF2B5EF4-FFF2-40B4-BE49-F238E27FC236}">
                  <a16:creationId xmlns:a16="http://schemas.microsoft.com/office/drawing/2014/main" id="{5989A85C-C5C4-CCF2-3519-0EAC6CBBD9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43" name="TextBox 1042">
            <a:extLst>
              <a:ext uri="{FF2B5EF4-FFF2-40B4-BE49-F238E27FC236}">
                <a16:creationId xmlns:a16="http://schemas.microsoft.com/office/drawing/2014/main" id="{74FF25D1-9C7F-1C6F-B359-8B986150EDAA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8C468BC8-8E50-7814-3BAF-BBDF0078CB61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1048" name="Freeform 197">
              <a:extLst>
                <a:ext uri="{FF2B5EF4-FFF2-40B4-BE49-F238E27FC236}">
                  <a16:creationId xmlns:a16="http://schemas.microsoft.com/office/drawing/2014/main" id="{AED95390-B28C-785A-C767-5242A176A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9" name="Freeform 198">
              <a:extLst>
                <a:ext uri="{FF2B5EF4-FFF2-40B4-BE49-F238E27FC236}">
                  <a16:creationId xmlns:a16="http://schemas.microsoft.com/office/drawing/2014/main" id="{8AB72C4B-5001-D281-3BAF-943042968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199">
              <a:extLst>
                <a:ext uri="{FF2B5EF4-FFF2-40B4-BE49-F238E27FC236}">
                  <a16:creationId xmlns:a16="http://schemas.microsoft.com/office/drawing/2014/main" id="{43021DA6-4BCF-D690-0476-9F7551FF0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Freeform 200">
              <a:extLst>
                <a:ext uri="{FF2B5EF4-FFF2-40B4-BE49-F238E27FC236}">
                  <a16:creationId xmlns:a16="http://schemas.microsoft.com/office/drawing/2014/main" id="{3838B541-D4E0-568F-2509-3E9629691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Freeform 201">
              <a:extLst>
                <a:ext uri="{FF2B5EF4-FFF2-40B4-BE49-F238E27FC236}">
                  <a16:creationId xmlns:a16="http://schemas.microsoft.com/office/drawing/2014/main" id="{3EA1A5AD-FA24-36B5-7F79-EFF6733B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68418050-7D1D-3CEF-10BB-7D6E6CCEBE0F}"/>
              </a:ext>
            </a:extLst>
          </p:cNvPr>
          <p:cNvGrpSpPr/>
          <p:nvPr/>
        </p:nvGrpSpPr>
        <p:grpSpPr>
          <a:xfrm>
            <a:off x="605112" y="4785042"/>
            <a:ext cx="225423" cy="260013"/>
            <a:chOff x="5581651" y="2895601"/>
            <a:chExt cx="300038" cy="346076"/>
          </a:xfrm>
        </p:grpSpPr>
        <p:sp>
          <p:nvSpPr>
            <p:cNvPr id="1054" name="Oval 187">
              <a:extLst>
                <a:ext uri="{FF2B5EF4-FFF2-40B4-BE49-F238E27FC236}">
                  <a16:creationId xmlns:a16="http://schemas.microsoft.com/office/drawing/2014/main" id="{7D48A757-82DF-88FB-211F-6BC979033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5" name="Oval 188">
              <a:extLst>
                <a:ext uri="{FF2B5EF4-FFF2-40B4-BE49-F238E27FC236}">
                  <a16:creationId xmlns:a16="http://schemas.microsoft.com/office/drawing/2014/main" id="{23B0E393-8B1A-CED4-43DD-8272BDAFD7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6" name="Oval 189">
              <a:extLst>
                <a:ext uri="{FF2B5EF4-FFF2-40B4-BE49-F238E27FC236}">
                  <a16:creationId xmlns:a16="http://schemas.microsoft.com/office/drawing/2014/main" id="{5701FB16-F8EE-6283-4CD0-01363F2647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7" name="Freeform 190">
              <a:extLst>
                <a:ext uri="{FF2B5EF4-FFF2-40B4-BE49-F238E27FC236}">
                  <a16:creationId xmlns:a16="http://schemas.microsoft.com/office/drawing/2014/main" id="{AC453D95-C011-C689-99ED-5E6CE9385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8" name="Freeform 191">
              <a:extLst>
                <a:ext uri="{FF2B5EF4-FFF2-40B4-BE49-F238E27FC236}">
                  <a16:creationId xmlns:a16="http://schemas.microsoft.com/office/drawing/2014/main" id="{21D04144-1BB1-AC42-5DA6-D1EC0A27E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9" name="Freeform 192">
              <a:extLst>
                <a:ext uri="{FF2B5EF4-FFF2-40B4-BE49-F238E27FC236}">
                  <a16:creationId xmlns:a16="http://schemas.microsoft.com/office/drawing/2014/main" id="{134AF8E5-D5F6-94EC-F5A4-2003F410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5" name="Graphic 24" descr="Badge Question Mark outline">
            <a:extLst>
              <a:ext uri="{FF2B5EF4-FFF2-40B4-BE49-F238E27FC236}">
                <a16:creationId xmlns:a16="http://schemas.microsoft.com/office/drawing/2014/main" id="{F42B7863-B6C2-81AF-4B61-32B4B53C2B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27" name="Graphic 26" descr="Customer review outline">
            <a:extLst>
              <a:ext uri="{FF2B5EF4-FFF2-40B4-BE49-F238E27FC236}">
                <a16:creationId xmlns:a16="http://schemas.microsoft.com/office/drawing/2014/main" id="{9E441735-64FC-E2D3-778C-4784AF24B2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1061" name="TextBox 1060">
            <a:extLst>
              <a:ext uri="{FF2B5EF4-FFF2-40B4-BE49-F238E27FC236}">
                <a16:creationId xmlns:a16="http://schemas.microsoft.com/office/drawing/2014/main" id="{C0B9E9D6-4AA7-180C-143F-8FDE5B0EAE33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pic>
        <p:nvPicPr>
          <p:cNvPr id="1062" name="Picture 1061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D066817C-FC8F-EF4E-ED43-59ABBB87E3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12" y="1322985"/>
            <a:ext cx="4082373" cy="4968242"/>
          </a:xfrm>
          <a:prstGeom prst="rect">
            <a:avLst/>
          </a:prstGeom>
        </p:spPr>
      </p:pic>
      <p:sp>
        <p:nvSpPr>
          <p:cNvPr id="1063" name="TextBox 1062">
            <a:extLst>
              <a:ext uri="{FF2B5EF4-FFF2-40B4-BE49-F238E27FC236}">
                <a16:creationId xmlns:a16="http://schemas.microsoft.com/office/drawing/2014/main" id="{146A68C3-5674-4409-8298-368DAC482380}"/>
              </a:ext>
            </a:extLst>
          </p:cNvPr>
          <p:cNvSpPr txBox="1"/>
          <p:nvPr/>
        </p:nvSpPr>
        <p:spPr>
          <a:xfrm>
            <a:off x="3781778" y="1619154"/>
            <a:ext cx="38382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We created this flask to be the primary base in the development of our dashboard. 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It is used in the database set up using SQLite and to return a useable .</a:t>
            </a:r>
            <a:r>
              <a:rPr lang="en-GB" dirty="0" err="1">
                <a:solidFill>
                  <a:schemeClr val="bg2"/>
                </a:solidFill>
              </a:rPr>
              <a:t>json</a:t>
            </a:r>
            <a:r>
              <a:rPr lang="en-GB" dirty="0">
                <a:solidFill>
                  <a:schemeClr val="bg2"/>
                </a:solidFill>
              </a:rPr>
              <a:t> file. </a:t>
            </a:r>
          </a:p>
        </p:txBody>
      </p:sp>
      <p:sp>
        <p:nvSpPr>
          <p:cNvPr id="1064" name="TextBox 1063">
            <a:extLst>
              <a:ext uri="{FF2B5EF4-FFF2-40B4-BE49-F238E27FC236}">
                <a16:creationId xmlns:a16="http://schemas.microsoft.com/office/drawing/2014/main" id="{EBF1497B-4EE5-0FDF-D205-BEA2C65F7C59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531651B9-D3A6-C040-C603-EF8C54D64432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1066" name="TextBox 1065">
            <a:extLst>
              <a:ext uri="{FF2B5EF4-FFF2-40B4-BE49-F238E27FC236}">
                <a16:creationId xmlns:a16="http://schemas.microsoft.com/office/drawing/2014/main" id="{1EA46238-94D0-E915-48AF-E817E9AC5709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067" name="TextBox 1066">
            <a:extLst>
              <a:ext uri="{FF2B5EF4-FFF2-40B4-BE49-F238E27FC236}">
                <a16:creationId xmlns:a16="http://schemas.microsoft.com/office/drawing/2014/main" id="{702630E8-3670-664C-5B11-B630BD1F9CFB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id="{2E1E644E-2558-69C5-756C-2C296A095929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069" name="TextBox 1068">
            <a:extLst>
              <a:ext uri="{FF2B5EF4-FFF2-40B4-BE49-F238E27FC236}">
                <a16:creationId xmlns:a16="http://schemas.microsoft.com/office/drawing/2014/main" id="{6DF8EB0F-B690-BEE3-11C8-A7784B4E7FC8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1899087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B9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CF4A81E-0F2D-BF22-7F37-CB296CD253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12" y="219635"/>
            <a:ext cx="2413000" cy="304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CAB85A-73EA-012F-6AAC-1FBB3DAA79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1520" y="219635"/>
            <a:ext cx="2705100" cy="304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48225C-6221-3DE5-1D4F-00977EC551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5382" y="219635"/>
            <a:ext cx="3048000" cy="2146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2096AE-CCE2-A911-9F93-B7E410D071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1212" y="2842185"/>
            <a:ext cx="2286000" cy="850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253469-3FCB-B650-BDDC-54E21F4AFA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0892" y="4492066"/>
            <a:ext cx="3035300" cy="863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A459FA-9EEA-8AB2-BBCC-2EA0FAA2EB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1520" y="5112870"/>
            <a:ext cx="3048000" cy="863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640F84-52E4-C87D-0903-6DB90F662D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3712" y="6361955"/>
            <a:ext cx="3200400" cy="304800"/>
          </a:xfrm>
          <a:prstGeom prst="rect">
            <a:avLst/>
          </a:prstGeom>
        </p:spPr>
      </p:pic>
      <p:sp>
        <p:nvSpPr>
          <p:cNvPr id="10" name="Curved Up Arrow 9">
            <a:extLst>
              <a:ext uri="{FF2B5EF4-FFF2-40B4-BE49-F238E27FC236}">
                <a16:creationId xmlns:a16="http://schemas.microsoft.com/office/drawing/2014/main" id="{26D311AF-447F-F5B9-576E-B687D40CE2F8}"/>
              </a:ext>
            </a:extLst>
          </p:cNvPr>
          <p:cNvSpPr/>
          <p:nvPr/>
        </p:nvSpPr>
        <p:spPr>
          <a:xfrm>
            <a:off x="1717115" y="3429000"/>
            <a:ext cx="1667435" cy="484468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Curved Up Arrow 10">
            <a:extLst>
              <a:ext uri="{FF2B5EF4-FFF2-40B4-BE49-F238E27FC236}">
                <a16:creationId xmlns:a16="http://schemas.microsoft.com/office/drawing/2014/main" id="{727AADEE-5566-6F8E-0563-918678B09671}"/>
              </a:ext>
            </a:extLst>
          </p:cNvPr>
          <p:cNvSpPr/>
          <p:nvPr/>
        </p:nvSpPr>
        <p:spPr>
          <a:xfrm rot="19240301">
            <a:off x="5215444" y="3096507"/>
            <a:ext cx="1667435" cy="552175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" name="Curved Up Arrow 11">
            <a:extLst>
              <a:ext uri="{FF2B5EF4-FFF2-40B4-BE49-F238E27FC236}">
                <a16:creationId xmlns:a16="http://schemas.microsoft.com/office/drawing/2014/main" id="{64A79B6C-2132-33B5-8DCA-4B0818FA1C6D}"/>
              </a:ext>
            </a:extLst>
          </p:cNvPr>
          <p:cNvSpPr/>
          <p:nvPr/>
        </p:nvSpPr>
        <p:spPr>
          <a:xfrm rot="2686154" flipV="1">
            <a:off x="9375111" y="1652420"/>
            <a:ext cx="1893265" cy="506837"/>
          </a:xfrm>
          <a:prstGeom prst="curvedUpArrow">
            <a:avLst>
              <a:gd name="adj1" fmla="val 25000"/>
              <a:gd name="adj2" fmla="val 50000"/>
              <a:gd name="adj3" fmla="val 34914"/>
            </a:avLst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Curved Up Arrow 12">
            <a:extLst>
              <a:ext uri="{FF2B5EF4-FFF2-40B4-BE49-F238E27FC236}">
                <a16:creationId xmlns:a16="http://schemas.microsoft.com/office/drawing/2014/main" id="{B60E8552-BA75-C749-7F3E-ED949B9BCD91}"/>
              </a:ext>
            </a:extLst>
          </p:cNvPr>
          <p:cNvSpPr/>
          <p:nvPr/>
        </p:nvSpPr>
        <p:spPr>
          <a:xfrm rot="8282735">
            <a:off x="7675074" y="3543711"/>
            <a:ext cx="1667435" cy="484468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" name="Curved Up Arrow 13">
            <a:extLst>
              <a:ext uri="{FF2B5EF4-FFF2-40B4-BE49-F238E27FC236}">
                <a16:creationId xmlns:a16="http://schemas.microsoft.com/office/drawing/2014/main" id="{29AE03D6-9AB1-1506-575B-60318B894A9D}"/>
              </a:ext>
            </a:extLst>
          </p:cNvPr>
          <p:cNvSpPr/>
          <p:nvPr/>
        </p:nvSpPr>
        <p:spPr>
          <a:xfrm rot="9166515">
            <a:off x="5506032" y="4281227"/>
            <a:ext cx="1667435" cy="484468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Curved Up Arrow 14">
            <a:extLst>
              <a:ext uri="{FF2B5EF4-FFF2-40B4-BE49-F238E27FC236}">
                <a16:creationId xmlns:a16="http://schemas.microsoft.com/office/drawing/2014/main" id="{F8F6C176-5D66-A537-0355-1FF98FB28183}"/>
              </a:ext>
            </a:extLst>
          </p:cNvPr>
          <p:cNvSpPr/>
          <p:nvPr/>
        </p:nvSpPr>
        <p:spPr>
          <a:xfrm rot="8267805">
            <a:off x="1498727" y="5160293"/>
            <a:ext cx="1667435" cy="444995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463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29861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arch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Heart 40">
            <a:extLst>
              <a:ext uri="{FF2B5EF4-FFF2-40B4-BE49-F238E27FC236}">
                <a16:creationId xmlns:a16="http://schemas.microsoft.com/office/drawing/2014/main" id="{8D40B542-B96D-DDA7-C265-DF105A2A5899}"/>
              </a:ext>
            </a:extLst>
          </p:cNvPr>
          <p:cNvSpPr/>
          <p:nvPr/>
        </p:nvSpPr>
        <p:spPr>
          <a:xfrm>
            <a:off x="8556621" y="3981419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500166" y="1183742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65BEC1D-B7F7-3F58-8F23-1AAFCFB366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37452" y="1183743"/>
            <a:ext cx="4954708" cy="251881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E6ADCB7-D875-8D7E-3E12-6AB20A59A3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37452" y="3918163"/>
            <a:ext cx="4921085" cy="2748714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8F695C92-61D0-61BB-75B3-1FA9EE3FD7C7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47" name="Rectangle: Rounded Corners 58">
              <a:extLst>
                <a:ext uri="{FF2B5EF4-FFF2-40B4-BE49-F238E27FC236}">
                  <a16:creationId xmlns:a16="http://schemas.microsoft.com/office/drawing/2014/main" id="{0B525E28-89EF-9243-1EC0-512CEF3E0CDA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First Visual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F1287B1-4D79-7FA6-377F-A8375E7E3B1F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7F5EC459-7126-7FDD-7F36-ECC8080C6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2219247A-803D-8573-2F37-38BA2DC1E2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AFE7DF52-04E9-0787-9997-8536894BB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63DC18F9-D134-1061-977B-FF5DEB399479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025" name="Freeform 66">
              <a:extLst>
                <a:ext uri="{FF2B5EF4-FFF2-40B4-BE49-F238E27FC236}">
                  <a16:creationId xmlns:a16="http://schemas.microsoft.com/office/drawing/2014/main" id="{BD507C67-7047-A3FA-6544-EF8DBF142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7" name="Freeform 67">
              <a:extLst>
                <a:ext uri="{FF2B5EF4-FFF2-40B4-BE49-F238E27FC236}">
                  <a16:creationId xmlns:a16="http://schemas.microsoft.com/office/drawing/2014/main" id="{39186CEC-CDE5-DFCF-3540-76CCC5CC1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8" name="Oval 68">
              <a:extLst>
                <a:ext uri="{FF2B5EF4-FFF2-40B4-BE49-F238E27FC236}">
                  <a16:creationId xmlns:a16="http://schemas.microsoft.com/office/drawing/2014/main" id="{D6E4EEF8-091F-CFFF-8666-144899596C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9" name="Rectangle 69">
              <a:extLst>
                <a:ext uri="{FF2B5EF4-FFF2-40B4-BE49-F238E27FC236}">
                  <a16:creationId xmlns:a16="http://schemas.microsoft.com/office/drawing/2014/main" id="{342D7F85-3CC7-846B-D5A2-724E0CB879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0" name="Line 70">
              <a:extLst>
                <a:ext uri="{FF2B5EF4-FFF2-40B4-BE49-F238E27FC236}">
                  <a16:creationId xmlns:a16="http://schemas.microsoft.com/office/drawing/2014/main" id="{F401939B-75BC-1B59-5893-0368FDFAAA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1" name="Line 71">
              <a:extLst>
                <a:ext uri="{FF2B5EF4-FFF2-40B4-BE49-F238E27FC236}">
                  <a16:creationId xmlns:a16="http://schemas.microsoft.com/office/drawing/2014/main" id="{67F8097D-37BF-02E0-3F22-707D4DDA3F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3" name="Line 72">
              <a:extLst>
                <a:ext uri="{FF2B5EF4-FFF2-40B4-BE49-F238E27FC236}">
                  <a16:creationId xmlns:a16="http://schemas.microsoft.com/office/drawing/2014/main" id="{03DD873E-E297-00E8-D69D-A2BB224172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4" name="Line 73">
              <a:extLst>
                <a:ext uri="{FF2B5EF4-FFF2-40B4-BE49-F238E27FC236}">
                  <a16:creationId xmlns:a16="http://schemas.microsoft.com/office/drawing/2014/main" id="{86DFB5C2-499A-6882-3930-8D3DEA6FD0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5" name="Oval 74">
              <a:extLst>
                <a:ext uri="{FF2B5EF4-FFF2-40B4-BE49-F238E27FC236}">
                  <a16:creationId xmlns:a16="http://schemas.microsoft.com/office/drawing/2014/main" id="{68A170AF-1D1A-7EB1-6744-17F2197222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4" name="Line 75">
              <a:extLst>
                <a:ext uri="{FF2B5EF4-FFF2-40B4-BE49-F238E27FC236}">
                  <a16:creationId xmlns:a16="http://schemas.microsoft.com/office/drawing/2014/main" id="{E386A2D4-BEA6-BDF6-756D-EFF6612EA3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5" name="Line 76">
              <a:extLst>
                <a:ext uri="{FF2B5EF4-FFF2-40B4-BE49-F238E27FC236}">
                  <a16:creationId xmlns:a16="http://schemas.microsoft.com/office/drawing/2014/main" id="{FF767301-CF39-88C1-7219-1800AD9522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6" name="Line 77">
              <a:extLst>
                <a:ext uri="{FF2B5EF4-FFF2-40B4-BE49-F238E27FC236}">
                  <a16:creationId xmlns:a16="http://schemas.microsoft.com/office/drawing/2014/main" id="{6143A6C9-932B-A7EE-9F38-EC30091404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5" name="Line 78">
              <a:extLst>
                <a:ext uri="{FF2B5EF4-FFF2-40B4-BE49-F238E27FC236}">
                  <a16:creationId xmlns:a16="http://schemas.microsoft.com/office/drawing/2014/main" id="{B675E8F2-4BC8-7622-F302-0A79B9A711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6" name="Line 79">
              <a:extLst>
                <a:ext uri="{FF2B5EF4-FFF2-40B4-BE49-F238E27FC236}">
                  <a16:creationId xmlns:a16="http://schemas.microsoft.com/office/drawing/2014/main" id="{478DD207-21E4-A7E7-90F3-704955E6F3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57" name="Group 1056">
            <a:extLst>
              <a:ext uri="{FF2B5EF4-FFF2-40B4-BE49-F238E27FC236}">
                <a16:creationId xmlns:a16="http://schemas.microsoft.com/office/drawing/2014/main" id="{412486FD-1142-4084-BE9D-1F0362BD4EE2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058" name="Line 325">
              <a:extLst>
                <a:ext uri="{FF2B5EF4-FFF2-40B4-BE49-F238E27FC236}">
                  <a16:creationId xmlns:a16="http://schemas.microsoft.com/office/drawing/2014/main" id="{568E083F-8A40-CD5B-8D56-D869FDB420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9" name="Line 326">
              <a:extLst>
                <a:ext uri="{FF2B5EF4-FFF2-40B4-BE49-F238E27FC236}">
                  <a16:creationId xmlns:a16="http://schemas.microsoft.com/office/drawing/2014/main" id="{EBA90BDA-E797-0059-A0D0-F35992C990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0" name="Line 327">
              <a:extLst>
                <a:ext uri="{FF2B5EF4-FFF2-40B4-BE49-F238E27FC236}">
                  <a16:creationId xmlns:a16="http://schemas.microsoft.com/office/drawing/2014/main" id="{32AD208F-072A-5358-CA79-39E401CE10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1" name="Line 328">
              <a:extLst>
                <a:ext uri="{FF2B5EF4-FFF2-40B4-BE49-F238E27FC236}">
                  <a16:creationId xmlns:a16="http://schemas.microsoft.com/office/drawing/2014/main" id="{4971C1DD-295D-16E4-175E-C6F3ED0AD0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2" name="Line 329">
              <a:extLst>
                <a:ext uri="{FF2B5EF4-FFF2-40B4-BE49-F238E27FC236}">
                  <a16:creationId xmlns:a16="http://schemas.microsoft.com/office/drawing/2014/main" id="{E9C9879B-89E8-10E4-9B38-0844DA6767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3" name="Line 330">
              <a:extLst>
                <a:ext uri="{FF2B5EF4-FFF2-40B4-BE49-F238E27FC236}">
                  <a16:creationId xmlns:a16="http://schemas.microsoft.com/office/drawing/2014/main" id="{76BFF326-DD19-F602-23E0-C1942E0421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4" name="Line 331">
              <a:extLst>
                <a:ext uri="{FF2B5EF4-FFF2-40B4-BE49-F238E27FC236}">
                  <a16:creationId xmlns:a16="http://schemas.microsoft.com/office/drawing/2014/main" id="{BF6123A4-E1E2-135A-03B0-9F06373A5E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5" name="Line 332">
              <a:extLst>
                <a:ext uri="{FF2B5EF4-FFF2-40B4-BE49-F238E27FC236}">
                  <a16:creationId xmlns:a16="http://schemas.microsoft.com/office/drawing/2014/main" id="{EB156C22-F81A-D79A-789D-FBD4FF07C6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6" name="Line 333">
              <a:extLst>
                <a:ext uri="{FF2B5EF4-FFF2-40B4-BE49-F238E27FC236}">
                  <a16:creationId xmlns:a16="http://schemas.microsoft.com/office/drawing/2014/main" id="{15745BB5-E894-3C62-D03A-A74A236EF6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7" name="Line 334">
              <a:extLst>
                <a:ext uri="{FF2B5EF4-FFF2-40B4-BE49-F238E27FC236}">
                  <a16:creationId xmlns:a16="http://schemas.microsoft.com/office/drawing/2014/main" id="{1D0B586E-4B4B-4D79-153A-C971F7B301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8" name="Freeform 335">
              <a:extLst>
                <a:ext uri="{FF2B5EF4-FFF2-40B4-BE49-F238E27FC236}">
                  <a16:creationId xmlns:a16="http://schemas.microsoft.com/office/drawing/2014/main" id="{1997063C-3417-FA6B-FE1C-C5B3276A5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9" name="Freeform 336">
              <a:extLst>
                <a:ext uri="{FF2B5EF4-FFF2-40B4-BE49-F238E27FC236}">
                  <a16:creationId xmlns:a16="http://schemas.microsoft.com/office/drawing/2014/main" id="{BF4B70DE-61C6-E911-5FB4-D6CCFEEE2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0" name="Freeform 337">
              <a:extLst>
                <a:ext uri="{FF2B5EF4-FFF2-40B4-BE49-F238E27FC236}">
                  <a16:creationId xmlns:a16="http://schemas.microsoft.com/office/drawing/2014/main" id="{35438660-4460-8D4B-2619-DEC5B47AF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1" name="Group 1070">
            <a:extLst>
              <a:ext uri="{FF2B5EF4-FFF2-40B4-BE49-F238E27FC236}">
                <a16:creationId xmlns:a16="http://schemas.microsoft.com/office/drawing/2014/main" id="{8F5BC8A8-F0FA-6F1E-5B1A-B094AFFF8D63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072" name="Freeform 458">
              <a:extLst>
                <a:ext uri="{FF2B5EF4-FFF2-40B4-BE49-F238E27FC236}">
                  <a16:creationId xmlns:a16="http://schemas.microsoft.com/office/drawing/2014/main" id="{6BCF3545-F13D-80B5-155B-68094F002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3" name="Freeform 459">
              <a:extLst>
                <a:ext uri="{FF2B5EF4-FFF2-40B4-BE49-F238E27FC236}">
                  <a16:creationId xmlns:a16="http://schemas.microsoft.com/office/drawing/2014/main" id="{AFFD69E8-1EC4-3FCE-E68A-7F954F175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4" name="Line 460">
              <a:extLst>
                <a:ext uri="{FF2B5EF4-FFF2-40B4-BE49-F238E27FC236}">
                  <a16:creationId xmlns:a16="http://schemas.microsoft.com/office/drawing/2014/main" id="{39918B90-DCD5-4A69-A461-E4F4E148A4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5" name="Line 461">
              <a:extLst>
                <a:ext uri="{FF2B5EF4-FFF2-40B4-BE49-F238E27FC236}">
                  <a16:creationId xmlns:a16="http://schemas.microsoft.com/office/drawing/2014/main" id="{E996C4BE-DD03-5EB9-FE46-81C2A80942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6" name="Line 462">
              <a:extLst>
                <a:ext uri="{FF2B5EF4-FFF2-40B4-BE49-F238E27FC236}">
                  <a16:creationId xmlns:a16="http://schemas.microsoft.com/office/drawing/2014/main" id="{A8F4D640-1851-99AD-E186-2781ACAF71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7" name="Line 463">
              <a:extLst>
                <a:ext uri="{FF2B5EF4-FFF2-40B4-BE49-F238E27FC236}">
                  <a16:creationId xmlns:a16="http://schemas.microsoft.com/office/drawing/2014/main" id="{8AFA6AF2-B6C2-0B46-C17B-508863BE6F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8" name="Line 464">
              <a:extLst>
                <a:ext uri="{FF2B5EF4-FFF2-40B4-BE49-F238E27FC236}">
                  <a16:creationId xmlns:a16="http://schemas.microsoft.com/office/drawing/2014/main" id="{33E2D241-E07F-F482-E921-30817608BC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9" name="Line 465">
              <a:extLst>
                <a:ext uri="{FF2B5EF4-FFF2-40B4-BE49-F238E27FC236}">
                  <a16:creationId xmlns:a16="http://schemas.microsoft.com/office/drawing/2014/main" id="{0D3A5A76-3CC5-7843-0D70-7C00A9C5B9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0" name="Freeform 466">
              <a:extLst>
                <a:ext uri="{FF2B5EF4-FFF2-40B4-BE49-F238E27FC236}">
                  <a16:creationId xmlns:a16="http://schemas.microsoft.com/office/drawing/2014/main" id="{21924236-1434-D517-82DD-FCD8D8C91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1" name="Oval 467">
              <a:extLst>
                <a:ext uri="{FF2B5EF4-FFF2-40B4-BE49-F238E27FC236}">
                  <a16:creationId xmlns:a16="http://schemas.microsoft.com/office/drawing/2014/main" id="{EE9B9211-E7C4-2DF5-C52C-35986060C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2" name="Line 468">
              <a:extLst>
                <a:ext uri="{FF2B5EF4-FFF2-40B4-BE49-F238E27FC236}">
                  <a16:creationId xmlns:a16="http://schemas.microsoft.com/office/drawing/2014/main" id="{0EFA3ED3-4B66-F36C-081C-4D06444712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3" name="Freeform 469">
              <a:extLst>
                <a:ext uri="{FF2B5EF4-FFF2-40B4-BE49-F238E27FC236}">
                  <a16:creationId xmlns:a16="http://schemas.microsoft.com/office/drawing/2014/main" id="{E1C285C3-D84F-2351-3846-0B1F7299D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4" name="Line 470">
              <a:extLst>
                <a:ext uri="{FF2B5EF4-FFF2-40B4-BE49-F238E27FC236}">
                  <a16:creationId xmlns:a16="http://schemas.microsoft.com/office/drawing/2014/main" id="{7B83374C-C99C-F710-D9EC-987C5D0FB5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5" name="Freeform 471">
              <a:extLst>
                <a:ext uri="{FF2B5EF4-FFF2-40B4-BE49-F238E27FC236}">
                  <a16:creationId xmlns:a16="http://schemas.microsoft.com/office/drawing/2014/main" id="{429063FF-7D9F-7CD4-2705-8E71CC865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6" name="Line 472">
              <a:extLst>
                <a:ext uri="{FF2B5EF4-FFF2-40B4-BE49-F238E27FC236}">
                  <a16:creationId xmlns:a16="http://schemas.microsoft.com/office/drawing/2014/main" id="{97A02DC5-E53C-E866-654D-E187E2C062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92" name="TextBox 1091">
            <a:extLst>
              <a:ext uri="{FF2B5EF4-FFF2-40B4-BE49-F238E27FC236}">
                <a16:creationId xmlns:a16="http://schemas.microsoft.com/office/drawing/2014/main" id="{C102ABDD-7958-8AE4-DDEA-E53EC97E91A0}"/>
              </a:ext>
            </a:extLst>
          </p:cNvPr>
          <p:cNvSpPr txBox="1"/>
          <p:nvPr/>
        </p:nvSpPr>
        <p:spPr>
          <a:xfrm>
            <a:off x="9958685" y="1331059"/>
            <a:ext cx="1921119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This interactive search bar highlights the key word(s) mentioned and lists the relative items in list format, showcasing the track name, artist, and popularity. 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The buttons below allows you to look through pages of our extensive data ! </a:t>
            </a:r>
          </a:p>
        </p:txBody>
      </p:sp>
      <p:sp>
        <p:nvSpPr>
          <p:cNvPr id="1099" name="TextBox 1098">
            <a:extLst>
              <a:ext uri="{FF2B5EF4-FFF2-40B4-BE49-F238E27FC236}">
                <a16:creationId xmlns:a16="http://schemas.microsoft.com/office/drawing/2014/main" id="{B6256943-733E-596A-C2C7-309BC57E8B7A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1100" name="TextBox 1099">
            <a:extLst>
              <a:ext uri="{FF2B5EF4-FFF2-40B4-BE49-F238E27FC236}">
                <a16:creationId xmlns:a16="http://schemas.microsoft.com/office/drawing/2014/main" id="{A349AE18-D30C-C742-661F-463292C5376E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1101" name="TextBox 1100">
            <a:extLst>
              <a:ext uri="{FF2B5EF4-FFF2-40B4-BE49-F238E27FC236}">
                <a16:creationId xmlns:a16="http://schemas.microsoft.com/office/drawing/2014/main" id="{EC6D0DCE-CBA3-F96B-C16F-F11117A1EA78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102" name="TextBox 1101">
            <a:extLst>
              <a:ext uri="{FF2B5EF4-FFF2-40B4-BE49-F238E27FC236}">
                <a16:creationId xmlns:a16="http://schemas.microsoft.com/office/drawing/2014/main" id="{2A0746A5-B290-4421-40E0-90C862C3D4C6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103" name="TextBox 1102">
            <a:extLst>
              <a:ext uri="{FF2B5EF4-FFF2-40B4-BE49-F238E27FC236}">
                <a16:creationId xmlns:a16="http://schemas.microsoft.com/office/drawing/2014/main" id="{ACCD8E8C-39E2-CDA5-F5B0-F4EC9882BBCA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104" name="TextBox 1103">
            <a:extLst>
              <a:ext uri="{FF2B5EF4-FFF2-40B4-BE49-F238E27FC236}">
                <a16:creationId xmlns:a16="http://schemas.microsoft.com/office/drawing/2014/main" id="{C06E9444-6F96-CCF0-A9C4-BF9E84DF6F47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3619731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40633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6520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EE3E469-DAC9-5C74-3768-38046DBAE01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49888" y="1411316"/>
            <a:ext cx="5719861" cy="20555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1CF3ADF-BD4D-7EA7-4536-F7D99336FD7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58013" y="3945782"/>
            <a:ext cx="5745048" cy="2523938"/>
          </a:xfrm>
          <a:prstGeom prst="rect">
            <a:avLst/>
          </a:prstGeom>
        </p:spPr>
      </p:pic>
      <p:sp>
        <p:nvSpPr>
          <p:cNvPr id="29" name="Heart 28">
            <a:extLst>
              <a:ext uri="{FF2B5EF4-FFF2-40B4-BE49-F238E27FC236}">
                <a16:creationId xmlns:a16="http://schemas.microsoft.com/office/drawing/2014/main" id="{92AABA54-8D85-5BB5-DCE0-DCF48CECAA29}"/>
              </a:ext>
            </a:extLst>
          </p:cNvPr>
          <p:cNvSpPr/>
          <p:nvPr/>
        </p:nvSpPr>
        <p:spPr>
          <a:xfrm>
            <a:off x="8657737" y="4053126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FBB9D70-2B1C-10B7-8D91-0D7D4429B4DD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33" name="Rectangle: Rounded Corners 58">
              <a:extLst>
                <a:ext uri="{FF2B5EF4-FFF2-40B4-BE49-F238E27FC236}">
                  <a16:creationId xmlns:a16="http://schemas.microsoft.com/office/drawing/2014/main" id="{AA30E629-4B1E-B327-BD6D-CF065C3144FA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cond Visual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98A1508-9F7D-FBE1-7B16-CC00B77682CD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535FC2E4-8DEE-606F-1C66-54E6EE5009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D2DA7B1F-28EF-F9CF-10B8-940C3ACFED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C7B66B00-05AE-9EB7-FB51-E63F92D5A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024" name="TextBox 1023">
            <a:extLst>
              <a:ext uri="{FF2B5EF4-FFF2-40B4-BE49-F238E27FC236}">
                <a16:creationId xmlns:a16="http://schemas.microsoft.com/office/drawing/2014/main" id="{550653B9-8C88-69C0-BACA-A32ACAD45CF3}"/>
              </a:ext>
            </a:extLst>
          </p:cNvPr>
          <p:cNvSpPr txBox="1"/>
          <p:nvPr/>
        </p:nvSpPr>
        <p:spPr>
          <a:xfrm>
            <a:off x="9809625" y="1322984"/>
            <a:ext cx="211913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In this section, we have created this dynamic pie chart to illustrate the genre distribution in the database. 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We used </a:t>
            </a:r>
            <a:r>
              <a:rPr lang="en-GB" dirty="0" err="1">
                <a:solidFill>
                  <a:schemeClr val="bg2"/>
                </a:solidFill>
              </a:rPr>
              <a:t>plotly</a:t>
            </a:r>
            <a:r>
              <a:rPr lang="en-GB" dirty="0">
                <a:solidFill>
                  <a:schemeClr val="bg2"/>
                </a:solidFill>
              </a:rPr>
              <a:t> and d3 libraries to create this informative graph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BAA6644F-D7D6-095A-9506-6F1FF666E8FE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8B1647D7-A2C0-44EE-58F4-F54D4FF52989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96A7FEE9-B2B2-6CCF-231A-C51938B62A10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C9031F10-6155-003C-B393-C49F8F837825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7DAAE11C-AD17-DEE6-450B-F13F7898F97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15591D42-690C-AC60-9E5D-950AEB8C60FC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2541051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48830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re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tribu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Heart 40">
            <a:extLst>
              <a:ext uri="{FF2B5EF4-FFF2-40B4-BE49-F238E27FC236}">
                <a16:creationId xmlns:a16="http://schemas.microsoft.com/office/drawing/2014/main" id="{8D40B542-B96D-DDA7-C265-DF105A2A5899}"/>
              </a:ext>
            </a:extLst>
          </p:cNvPr>
          <p:cNvSpPr/>
          <p:nvPr/>
        </p:nvSpPr>
        <p:spPr>
          <a:xfrm>
            <a:off x="57183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6520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6BAD29-DE55-67E5-7D89-5AB268192420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084DDBB-2CC3-5D6C-15EE-729122A3D525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Third Visual</a:t>
              </a: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EBF1577B-613C-8940-C8FE-CCE8DF688E52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1032" name="Rectangle 1031">
                <a:extLst>
                  <a:ext uri="{FF2B5EF4-FFF2-40B4-BE49-F238E27FC236}">
                    <a16:creationId xmlns:a16="http://schemas.microsoft.com/office/drawing/2014/main" id="{B4383C84-3120-5369-BF1F-BD7AC4ABA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3" name="Rectangle 1042">
                <a:extLst>
                  <a:ext uri="{FF2B5EF4-FFF2-40B4-BE49-F238E27FC236}">
                    <a16:creationId xmlns:a16="http://schemas.microsoft.com/office/drawing/2014/main" id="{9FDF03F0-6E94-4D92-B95C-610F0C5A4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E7C28F0C-1A8B-1DE4-E625-1DE9B02F1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1EBF803-09C5-C67E-1C1C-D93843F6A7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37314" y="1402727"/>
            <a:ext cx="2082800" cy="14986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F6CB9DB-9E05-CDCA-4A70-144391EC1B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37314" y="3143758"/>
            <a:ext cx="5064398" cy="1237964"/>
          </a:xfrm>
          <a:prstGeom prst="rect">
            <a:avLst/>
          </a:prstGeom>
        </p:spPr>
      </p:pic>
      <p:sp>
        <p:nvSpPr>
          <p:cNvPr id="1025" name="Heart 1024">
            <a:extLst>
              <a:ext uri="{FF2B5EF4-FFF2-40B4-BE49-F238E27FC236}">
                <a16:creationId xmlns:a16="http://schemas.microsoft.com/office/drawing/2014/main" id="{CD5B9DA6-8844-4CB4-9B27-79AC3917C918}"/>
              </a:ext>
            </a:extLst>
          </p:cNvPr>
          <p:cNvSpPr/>
          <p:nvPr/>
        </p:nvSpPr>
        <p:spPr>
          <a:xfrm>
            <a:off x="8659157" y="3138726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1027">
            <a:extLst>
              <a:ext uri="{FF2B5EF4-FFF2-40B4-BE49-F238E27FC236}">
                <a16:creationId xmlns:a16="http://schemas.microsoft.com/office/drawing/2014/main" id="{7872396A-B58F-8DD2-AB00-A90288247E9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37314" y="4617982"/>
            <a:ext cx="5100135" cy="1402537"/>
          </a:xfrm>
          <a:prstGeom prst="rect">
            <a:avLst/>
          </a:prstGeom>
        </p:spPr>
      </p:pic>
      <p:sp>
        <p:nvSpPr>
          <p:cNvPr id="1029" name="Heart 1028">
            <a:extLst>
              <a:ext uri="{FF2B5EF4-FFF2-40B4-BE49-F238E27FC236}">
                <a16:creationId xmlns:a16="http://schemas.microsoft.com/office/drawing/2014/main" id="{2209D95D-CCF5-76CB-648A-B828E79431BC}"/>
              </a:ext>
            </a:extLst>
          </p:cNvPr>
          <p:cNvSpPr/>
          <p:nvPr/>
        </p:nvSpPr>
        <p:spPr>
          <a:xfrm>
            <a:off x="8664800" y="4532910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1029">
            <a:extLst>
              <a:ext uri="{FF2B5EF4-FFF2-40B4-BE49-F238E27FC236}">
                <a16:creationId xmlns:a16="http://schemas.microsoft.com/office/drawing/2014/main" id="{6F793BEB-3AAA-3AAD-7AA2-89236287204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11138" y="1400152"/>
            <a:ext cx="2305328" cy="1383197"/>
          </a:xfrm>
          <a:prstGeom prst="rect">
            <a:avLst/>
          </a:prstGeom>
        </p:spPr>
      </p:pic>
      <p:sp>
        <p:nvSpPr>
          <p:cNvPr id="1031" name="TextBox 1030">
            <a:extLst>
              <a:ext uri="{FF2B5EF4-FFF2-40B4-BE49-F238E27FC236}">
                <a16:creationId xmlns:a16="http://schemas.microsoft.com/office/drawing/2014/main" id="{877A0800-E577-06AD-FC3D-DC589BF856FD}"/>
              </a:ext>
            </a:extLst>
          </p:cNvPr>
          <p:cNvSpPr txBox="1"/>
          <p:nvPr/>
        </p:nvSpPr>
        <p:spPr>
          <a:xfrm>
            <a:off x="9809625" y="1322984"/>
            <a:ext cx="2146848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Each song has its own varying levels of attributes, for example danceability and acousticness, these can be quantified and analysed to establish a genre’s unique qualities. These are shown in these bar charts. The genre in question can be deciphered from the dropdown menu 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4C3D8674-2966-628C-2FC1-0DBCF6FB1F28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C4F4F8B8-CC12-2656-9EB6-519137782FED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F33DFA27-C518-0F38-F45F-4FDC7578F609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8664DD69-13F0-CB1D-2B8F-247321206639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059" name="TextBox 1058">
            <a:extLst>
              <a:ext uri="{FF2B5EF4-FFF2-40B4-BE49-F238E27FC236}">
                <a16:creationId xmlns:a16="http://schemas.microsoft.com/office/drawing/2014/main" id="{8A14F5D4-41EE-E73E-489B-D412DD06EAE7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061" name="TextBox 1060">
            <a:extLst>
              <a:ext uri="{FF2B5EF4-FFF2-40B4-BE49-F238E27FC236}">
                <a16:creationId xmlns:a16="http://schemas.microsoft.com/office/drawing/2014/main" id="{92F04FEF-01CD-5474-B756-F0A12BFD7E03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1364350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2IWFFnY9pdUs5SHwuB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2">
      <a:majorFont>
        <a:latin typeface="Bahnschrif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4</TotalTime>
  <Words>609</Words>
  <Application>Microsoft Macintosh PowerPoint</Application>
  <PresentationFormat>Widescreen</PresentationFormat>
  <Paragraphs>165</Paragraphs>
  <Slides>1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Bahnschrift</vt:lpstr>
      <vt:lpstr>Calibri</vt:lpstr>
      <vt:lpstr>Calibri Light</vt:lpstr>
      <vt:lpstr>Segoe UI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24slides18</dc:creator>
  <cp:lastModifiedBy>Jaspreet Kalsi</cp:lastModifiedBy>
  <cp:revision>31</cp:revision>
  <dcterms:created xsi:type="dcterms:W3CDTF">2022-08-29T02:34:37Z</dcterms:created>
  <dcterms:modified xsi:type="dcterms:W3CDTF">2023-11-27T18:44:33Z</dcterms:modified>
</cp:coreProperties>
</file>